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ink/ink1.xml" ContentType="application/inkml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51" r:id="rId4"/>
  </p:sldMasterIdLst>
  <p:notesMasterIdLst>
    <p:notesMasterId r:id="rId38"/>
  </p:notesMasterIdLst>
  <p:handoutMasterIdLst>
    <p:handoutMasterId r:id="rId39"/>
  </p:handoutMasterIdLst>
  <p:sldIdLst>
    <p:sldId id="2147478907" r:id="rId5"/>
    <p:sldId id="2147478867" r:id="rId6"/>
    <p:sldId id="2147478866" r:id="rId7"/>
    <p:sldId id="2147478911" r:id="rId8"/>
    <p:sldId id="2147478880" r:id="rId9"/>
    <p:sldId id="2147478881" r:id="rId10"/>
    <p:sldId id="2147478879" r:id="rId11"/>
    <p:sldId id="2147478912" r:id="rId12"/>
    <p:sldId id="2147469660" r:id="rId13"/>
    <p:sldId id="2147478882" r:id="rId14"/>
    <p:sldId id="2147478913" r:id="rId15"/>
    <p:sldId id="2147478884" r:id="rId16"/>
    <p:sldId id="2147478914" r:id="rId17"/>
    <p:sldId id="2147478889" r:id="rId18"/>
    <p:sldId id="2147478918" r:id="rId19"/>
    <p:sldId id="2147478891" r:id="rId20"/>
    <p:sldId id="2147478838" r:id="rId21"/>
    <p:sldId id="2147478875" r:id="rId22"/>
    <p:sldId id="2147478898" r:id="rId23"/>
    <p:sldId id="2147478897" r:id="rId24"/>
    <p:sldId id="2147478899" r:id="rId25"/>
    <p:sldId id="2147478892" r:id="rId26"/>
    <p:sldId id="2147478910" r:id="rId27"/>
    <p:sldId id="2147478909" r:id="rId28"/>
    <p:sldId id="2147478900" r:id="rId29"/>
    <p:sldId id="2147478860" r:id="rId30"/>
    <p:sldId id="2147478868" r:id="rId31"/>
    <p:sldId id="2147478834" r:id="rId32"/>
    <p:sldId id="2147478903" r:id="rId33"/>
    <p:sldId id="2147478908" r:id="rId34"/>
    <p:sldId id="2147478917" r:id="rId35"/>
    <p:sldId id="2147478901" r:id="rId36"/>
    <p:sldId id="2147478902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66D6B86-BE68-0391-C8B4-AC7979848279}" name="Neenu Sharma" initials="NS" userId="S::neenu.sharma@veeam.com::ed094e59-be11-4a7c-aca9-6be41115b955" providerId="AD"/>
  <p188:author id="{5A0A59A8-32FC-CB8D-460D-EC7DBD6B064F}" name="Natalia Krivopustova" initials="NK" userId="S::NKrivopustova@veeam.com::a3bcac9a-9d34-497d-a350-f644a5d33214" providerId="AD"/>
  <p188:author id="{EA6AFABF-06D8-C8F4-DDBA-37006C120F42}" name="Alexandr Pozdeev" initials="AP" userId="S::alexandr.pozdeev@veeam.com::d5923238-7b3e-4dbe-90eb-48912a57e410" providerId="AD"/>
  <p188:author id="{5C5DF9CC-CD08-D193-7E7C-813A6A69F536}" name="Tyler Lynch" initials="TL" userId="S::Tyler@duarte.com::2b0022d4-4731-4590-970e-389865d721af" providerId="AD"/>
  <p188:author id="{5CD0E0F7-3FC7-AD12-48E9-E65A21C996B3}" name="Jay Kapur" initials="JK" userId="S::jay@duarte.com::ad043807-da17-49d2-b2f0-e330063160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836"/>
    <a:srgbClr val="FBFBFB"/>
    <a:srgbClr val="DBDEE1"/>
    <a:srgbClr val="B6BCC3"/>
    <a:srgbClr val="929BA5"/>
    <a:srgbClr val="505861"/>
    <a:srgbClr val="00D15F"/>
    <a:srgbClr val="AA94F2"/>
    <a:srgbClr val="9A7FF5"/>
    <a:srgbClr val="BBAA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288B6E-63A8-4B61-BF4C-59927CCDADE9}" v="7" dt="2024-04-10T13:33:46.701"/>
  </p1510:revLst>
</p1510:revInfo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srgbClr val="505861"/>
        </a:fontRef>
        <a:srgbClr val="50586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7000" cmpd="sng">
              <a:solidFill>
                <a:srgbClr val="E6E7F1"/>
              </a:solidFill>
            </a:ln>
          </a:bottom>
          <a:insideH>
            <a:ln w="7000" cmpd="sng">
              <a:solidFill>
                <a:srgbClr val="E6E7F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accent4">
              <a:alpha val="0"/>
            </a:schemeClr>
          </a:solidFill>
        </a:fill>
      </a:tcStyle>
    </a:wholeTbl>
    <a:band1H>
      <a:tcStyle>
        <a:tcBdr/>
        <a:fill>
          <a:solidFill>
            <a:schemeClr val="accent4">
              <a:alpha val="0"/>
            </a:schemeClr>
          </a:solidFill>
        </a:fill>
      </a:tcStyle>
    </a:band1H>
    <a:band2H>
      <a:tcStyle>
        <a:tcBdr/>
        <a:fill>
          <a:solidFill>
            <a:schemeClr val="accent4">
              <a:alpha val="0"/>
            </a:schemeClr>
          </a:solidFill>
        </a:fill>
      </a:tcStyle>
    </a:band2H>
    <a:band1V>
      <a:tcStyle>
        <a:tcBdr/>
        <a:fill>
          <a:solidFill>
            <a:schemeClr val="accent1">
              <a:alpha val="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  <a:insideV>
            <a:ln w="7000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>
          <a:srgbClr val="00D15F"/>
        </a:fontRef>
        <a:srgbClr val="00D15F"/>
      </a:tcTxStyle>
      <a:tcStyle>
        <a:tcBdr>
          <a:bottom>
            <a:ln w="10500" cmpd="sng">
              <a:solidFill>
                <a:srgbClr val="00D15F"/>
              </a:solidFill>
            </a:ln>
          </a:bottom>
          <a:insideV>
            <a:ln w="0" cmpd="sng">
              <a:solidFill>
                <a:srgbClr val="005C37"/>
              </a:solidFill>
            </a:ln>
          </a:insideV>
        </a:tcBdr>
        <a:fill>
          <a:solidFill>
            <a:schemeClr val="accent1">
              <a:alpha val="0"/>
            </a:schemeClr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rgbClr val="505861"/>
        </a:fontRef>
        <a:srgbClr val="50586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7000" cmpd="sng">
              <a:solidFill>
                <a:srgbClr val="E6E7F1"/>
              </a:solidFill>
            </a:ln>
          </a:bottom>
          <a:insideH>
            <a:ln w="7000" cmpd="sng">
              <a:solidFill>
                <a:srgbClr val="E6E7F1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accent4">
              <a:alpha val="0"/>
            </a:schemeClr>
          </a:solidFill>
        </a:fill>
      </a:tcStyle>
    </a:wholeTbl>
    <a:band1H>
      <a:tcStyle>
        <a:tcBdr/>
        <a:fill>
          <a:solidFill>
            <a:schemeClr val="accent4">
              <a:alpha val="0"/>
            </a:schemeClr>
          </a:solidFill>
        </a:fill>
      </a:tcStyle>
    </a:band1H>
    <a:band2H>
      <a:tcStyle>
        <a:tcBdr/>
        <a:fill>
          <a:solidFill>
            <a:schemeClr val="accent4">
              <a:alpha val="0"/>
            </a:schemeClr>
          </a:solidFill>
        </a:fill>
      </a:tcStyle>
    </a:band2H>
    <a:band1V>
      <a:tcStyle>
        <a:tcBdr/>
        <a:fill>
          <a:solidFill>
            <a:schemeClr val="accent1">
              <a:alpha val="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  <a:insideV>
            <a:ln w="7000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lastRow>
    <a:firstRow>
      <a:tcTxStyle b="on">
        <a:fontRef idx="minor">
          <a:srgbClr val="8E71F4"/>
        </a:fontRef>
        <a:srgbClr val="8E71F4"/>
      </a:tcTxStyle>
      <a:tcStyle>
        <a:tcBdr>
          <a:bottom>
            <a:ln w="10500" cmpd="sng">
              <a:solidFill>
                <a:srgbClr val="8E71F4"/>
              </a:solidFill>
            </a:ln>
          </a:bottom>
          <a:insideV>
            <a:ln w="0" cmpd="sng">
              <a:solidFill>
                <a:srgbClr val="005C37"/>
              </a:solidFill>
            </a:ln>
          </a:insideV>
        </a:tcBdr>
        <a:fill>
          <a:solidFill>
            <a:schemeClr val="accent1">
              <a:alpha val="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26" autoAdjust="0"/>
    <p:restoredTop sz="83543" autoAdjust="0"/>
  </p:normalViewPr>
  <p:slideViewPr>
    <p:cSldViewPr snapToGrid="0">
      <p:cViewPr>
        <p:scale>
          <a:sx n="100" d="100"/>
          <a:sy n="100" d="100"/>
        </p:scale>
        <p:origin x="1152" y="-21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6672"/>
    </p:cViewPr>
  </p:sorterViewPr>
  <p:notesViewPr>
    <p:cSldViewPr snapToGrid="0">
      <p:cViewPr varScale="1">
        <p:scale>
          <a:sx n="117" d="100"/>
          <a:sy n="117" d="100"/>
        </p:scale>
        <p:origin x="5046" y="75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ximilian Maier" userId="2dea75bf-1e61-418a-9a4e-3c96e4410998" providerId="ADAL" clId="{E5FA7755-4464-4339-8923-4731CE90646D}"/>
    <pc:docChg chg="undo redo custSel addSld delSld modSld sldOrd addSection delSection modSection">
      <pc:chgData name="Maximilian Maier" userId="2dea75bf-1e61-418a-9a4e-3c96e4410998" providerId="ADAL" clId="{E5FA7755-4464-4339-8923-4731CE90646D}" dt="2023-12-05T14:56:11.550" v="9574" actId="478"/>
      <pc:docMkLst>
        <pc:docMk/>
      </pc:docMkLst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572720499" sldId="26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109075591" sldId="261"/>
        </pc:sldMkLst>
      </pc:sldChg>
      <pc:sldChg chg="add del">
        <pc:chgData name="Maximilian Maier" userId="2dea75bf-1e61-418a-9a4e-3c96e4410998" providerId="ADAL" clId="{E5FA7755-4464-4339-8923-4731CE90646D}" dt="2023-12-04T11:57:52.764" v="7246" actId="47"/>
        <pc:sldMkLst>
          <pc:docMk/>
          <pc:sldMk cId="1043747139" sldId="1998"/>
        </pc:sldMkLst>
      </pc:sldChg>
      <pc:sldChg chg="addSp delSp modSp add del mod">
        <pc:chgData name="Maximilian Maier" userId="2dea75bf-1e61-418a-9a4e-3c96e4410998" providerId="ADAL" clId="{E5FA7755-4464-4339-8923-4731CE90646D}" dt="2023-12-04T11:47:34.334" v="6964" actId="47"/>
        <pc:sldMkLst>
          <pc:docMk/>
          <pc:sldMk cId="2486441113" sldId="4803"/>
        </pc:sldMkLst>
        <pc:picChg chg="add del mod">
          <ac:chgData name="Maximilian Maier" userId="2dea75bf-1e61-418a-9a4e-3c96e4410998" providerId="ADAL" clId="{E5FA7755-4464-4339-8923-4731CE90646D}" dt="2023-12-04T09:32:24.673" v="2875" actId="478"/>
          <ac:picMkLst>
            <pc:docMk/>
            <pc:sldMk cId="2486441113" sldId="4803"/>
            <ac:picMk id="3" creationId="{5CC3FF3B-10B3-034D-4A9F-2DE6A973139E}"/>
          </ac:picMkLst>
        </pc:picChg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648051266" sldId="5944"/>
        </pc:sldMkLst>
      </pc:sldChg>
      <pc:sldChg chg="modSp add del mod">
        <pc:chgData name="Maximilian Maier" userId="2dea75bf-1e61-418a-9a4e-3c96e4410998" providerId="ADAL" clId="{E5FA7755-4464-4339-8923-4731CE90646D}" dt="2023-12-04T12:05:40.186" v="7333" actId="47"/>
        <pc:sldMkLst>
          <pc:docMk/>
          <pc:sldMk cId="3924005929" sldId="6623"/>
        </pc:sldMkLst>
        <pc:spChg chg="mod">
          <ac:chgData name="Maximilian Maier" userId="2dea75bf-1e61-418a-9a4e-3c96e4410998" providerId="ADAL" clId="{E5FA7755-4464-4339-8923-4731CE90646D}" dt="2023-11-30T10:21:51.440" v="387"/>
          <ac:spMkLst>
            <pc:docMk/>
            <pc:sldMk cId="3924005929" sldId="6623"/>
            <ac:spMk id="11" creationId="{EB35BE25-B7BC-BC6C-BA23-FA1DC855F409}"/>
          </ac:spMkLst>
        </pc:spChg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939571215" sldId="214253393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644869533" sldId="214253394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151744435" sldId="214253394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66793360" sldId="214253394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947046511" sldId="214253394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739266042" sldId="214253397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768920605" sldId="2142533978"/>
        </pc:sldMkLst>
      </pc:sldChg>
      <pc:sldChg chg="modSp add del mod">
        <pc:chgData name="Maximilian Maier" userId="2dea75bf-1e61-418a-9a4e-3c96e4410998" providerId="ADAL" clId="{E5FA7755-4464-4339-8923-4731CE90646D}" dt="2023-12-05T14:36:48.595" v="9570" actId="47"/>
        <pc:sldMkLst>
          <pc:docMk/>
          <pc:sldMk cId="3968606092" sldId="2147469533"/>
        </pc:sldMkLst>
        <pc:spChg chg="mod">
          <ac:chgData name="Maximilian Maier" userId="2dea75bf-1e61-418a-9a4e-3c96e4410998" providerId="ADAL" clId="{E5FA7755-4464-4339-8923-4731CE90646D}" dt="2023-12-05T14:27:56.296" v="9485" actId="20577"/>
          <ac:spMkLst>
            <pc:docMk/>
            <pc:sldMk cId="3968606092" sldId="2147469533"/>
            <ac:spMk id="2" creationId="{FABBF88E-1FC7-814D-A3BF-B365D951CD46}"/>
          </ac:spMkLst>
        </pc:spChg>
        <pc:spChg chg="mod">
          <ac:chgData name="Maximilian Maier" userId="2dea75bf-1e61-418a-9a4e-3c96e4410998" providerId="ADAL" clId="{E5FA7755-4464-4339-8923-4731CE90646D}" dt="2023-12-05T14:27:26.746" v="9449" actId="20577"/>
          <ac:spMkLst>
            <pc:docMk/>
            <pc:sldMk cId="3968606092" sldId="2147469533"/>
            <ac:spMk id="60" creationId="{490F89C4-D7B7-3E1E-ADE4-C6677B32D7F1}"/>
          </ac:spMkLst>
        </pc:spChg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014360990" sldId="2147469548"/>
        </pc:sldMkLst>
      </pc:sldChg>
      <pc:sldChg chg="add del">
        <pc:chgData name="Maximilian Maier" userId="2dea75bf-1e61-418a-9a4e-3c96e4410998" providerId="ADAL" clId="{E5FA7755-4464-4339-8923-4731CE90646D}" dt="2023-12-04T11:47:32.592" v="6962" actId="47"/>
        <pc:sldMkLst>
          <pc:docMk/>
          <pc:sldMk cId="638291123" sldId="214746955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05808960" sldId="2147469584"/>
        </pc:sldMkLst>
      </pc:sldChg>
      <pc:sldChg chg="add ord">
        <pc:chgData name="Maximilian Maier" userId="2dea75bf-1e61-418a-9a4e-3c96e4410998" providerId="ADAL" clId="{E5FA7755-4464-4339-8923-4731CE90646D}" dt="2023-12-05T14:25:56.137" v="9441" actId="20578"/>
        <pc:sldMkLst>
          <pc:docMk/>
          <pc:sldMk cId="839097158" sldId="2147469660"/>
        </pc:sldMkLst>
      </pc:sldChg>
      <pc:sldChg chg="addSp delSp modSp add mod ord modAnim">
        <pc:chgData name="Maximilian Maier" userId="2dea75bf-1e61-418a-9a4e-3c96e4410998" providerId="ADAL" clId="{E5FA7755-4464-4339-8923-4731CE90646D}" dt="2023-12-04T09:25:59.536" v="2724"/>
        <pc:sldMkLst>
          <pc:docMk/>
          <pc:sldMk cId="2716848136" sldId="2147469679"/>
        </pc:sldMkLst>
        <pc:spChg chg="del mod">
          <ac:chgData name="Maximilian Maier" userId="2dea75bf-1e61-418a-9a4e-3c96e4410998" providerId="ADAL" clId="{E5FA7755-4464-4339-8923-4731CE90646D}" dt="2023-12-01T11:53:07.905" v="2154"/>
          <ac:spMkLst>
            <pc:docMk/>
            <pc:sldMk cId="2716848136" sldId="2147469679"/>
            <ac:spMk id="2" creationId="{06636C5F-4E8A-9D4A-01ED-4CCE273A26B4}"/>
          </ac:spMkLst>
        </pc:spChg>
        <pc:spChg chg="mod">
          <ac:chgData name="Maximilian Maier" userId="2dea75bf-1e61-418a-9a4e-3c96e4410998" providerId="ADAL" clId="{E5FA7755-4464-4339-8923-4731CE90646D}" dt="2023-12-01T11:52:20.545" v="2048" actId="1036"/>
          <ac:spMkLst>
            <pc:docMk/>
            <pc:sldMk cId="2716848136" sldId="2147469679"/>
            <ac:spMk id="3" creationId="{B38A54DC-1187-1F64-0BDF-22F79599321C}"/>
          </ac:spMkLst>
        </pc:spChg>
        <pc:spChg chg="mod">
          <ac:chgData name="Maximilian Maier" userId="2dea75bf-1e61-418a-9a4e-3c96e4410998" providerId="ADAL" clId="{E5FA7755-4464-4339-8923-4731CE90646D}" dt="2023-12-01T11:52:20.545" v="2048" actId="1036"/>
          <ac:spMkLst>
            <pc:docMk/>
            <pc:sldMk cId="2716848136" sldId="2147469679"/>
            <ac:spMk id="4" creationId="{C2A139E4-8942-3E00-F5D5-5940F7F38248}"/>
          </ac:spMkLst>
        </pc:spChg>
        <pc:spChg chg="mod">
          <ac:chgData name="Maximilian Maier" userId="2dea75bf-1e61-418a-9a4e-3c96e4410998" providerId="ADAL" clId="{E5FA7755-4464-4339-8923-4731CE90646D}" dt="2023-12-01T11:52:20.545" v="2048" actId="1036"/>
          <ac:spMkLst>
            <pc:docMk/>
            <pc:sldMk cId="2716848136" sldId="2147469679"/>
            <ac:spMk id="5" creationId="{9A77DFF1-6FE2-887B-2B85-0D766493A01F}"/>
          </ac:spMkLst>
        </pc:spChg>
        <pc:spChg chg="mod">
          <ac:chgData name="Maximilian Maier" userId="2dea75bf-1e61-418a-9a4e-3c96e4410998" providerId="ADAL" clId="{E5FA7755-4464-4339-8923-4731CE90646D}" dt="2023-12-01T11:52:20.545" v="2048" actId="1036"/>
          <ac:spMkLst>
            <pc:docMk/>
            <pc:sldMk cId="2716848136" sldId="2147469679"/>
            <ac:spMk id="6" creationId="{45A8EC6D-5D26-8022-8D8E-6E5BD469EFE7}"/>
          </ac:spMkLst>
        </pc:spChg>
        <pc:spChg chg="mod">
          <ac:chgData name="Maximilian Maier" userId="2dea75bf-1e61-418a-9a4e-3c96e4410998" providerId="ADAL" clId="{E5FA7755-4464-4339-8923-4731CE90646D}" dt="2023-12-01T11:53:01.281" v="2152" actId="20577"/>
          <ac:spMkLst>
            <pc:docMk/>
            <pc:sldMk cId="2716848136" sldId="2147469679"/>
            <ac:spMk id="9" creationId="{6E03D3E7-3F74-F2D7-A35F-8A6DFAED925F}"/>
          </ac:spMkLst>
        </pc:spChg>
        <pc:spChg chg="mod">
          <ac:chgData name="Maximilian Maier" userId="2dea75bf-1e61-418a-9a4e-3c96e4410998" providerId="ADAL" clId="{E5FA7755-4464-4339-8923-4731CE90646D}" dt="2023-12-01T11:52:53.728" v="2125" actId="20577"/>
          <ac:spMkLst>
            <pc:docMk/>
            <pc:sldMk cId="2716848136" sldId="2147469679"/>
            <ac:spMk id="12" creationId="{9AF61FBD-B84E-4E56-4692-F4898F39F9FF}"/>
          </ac:spMkLst>
        </pc:spChg>
        <pc:spChg chg="mod">
          <ac:chgData name="Maximilian Maier" userId="2dea75bf-1e61-418a-9a4e-3c96e4410998" providerId="ADAL" clId="{E5FA7755-4464-4339-8923-4731CE90646D}" dt="2023-12-04T09:23:26.954" v="2703" actId="1076"/>
          <ac:spMkLst>
            <pc:docMk/>
            <pc:sldMk cId="2716848136" sldId="2147469679"/>
            <ac:spMk id="15" creationId="{45FF1BD0-3B1B-BDCA-F86B-6DD27BDC1599}"/>
          </ac:spMkLst>
        </pc:spChg>
        <pc:spChg chg="mod">
          <ac:chgData name="Maximilian Maier" userId="2dea75bf-1e61-418a-9a4e-3c96e4410998" providerId="ADAL" clId="{E5FA7755-4464-4339-8923-4731CE90646D}" dt="2023-12-01T11:52:20.545" v="2048" actId="1036"/>
          <ac:spMkLst>
            <pc:docMk/>
            <pc:sldMk cId="2716848136" sldId="2147469679"/>
            <ac:spMk id="36" creationId="{4F6D59D4-87A6-5493-4E00-6899051BF6CA}"/>
          </ac:spMkLst>
        </pc:spChg>
        <pc:spChg chg="mod">
          <ac:chgData name="Maximilian Maier" userId="2dea75bf-1e61-418a-9a4e-3c96e4410998" providerId="ADAL" clId="{E5FA7755-4464-4339-8923-4731CE90646D}" dt="2023-12-04T09:23:39.456" v="2705"/>
          <ac:spMkLst>
            <pc:docMk/>
            <pc:sldMk cId="2716848136" sldId="2147469679"/>
            <ac:spMk id="52" creationId="{1E4B095B-49B4-A894-9C5D-631CE932E8A9}"/>
          </ac:spMkLst>
        </pc:spChg>
        <pc:spChg chg="del mod">
          <ac:chgData name="Maximilian Maier" userId="2dea75bf-1e61-418a-9a4e-3c96e4410998" providerId="ADAL" clId="{E5FA7755-4464-4339-8923-4731CE90646D}" dt="2023-12-01T11:53:07.905" v="2154"/>
          <ac:spMkLst>
            <pc:docMk/>
            <pc:sldMk cId="2716848136" sldId="2147469679"/>
            <ac:spMk id="52" creationId="{E2717A13-D434-E991-BC35-09F70D79A8D8}"/>
          </ac:spMkLst>
        </pc:spChg>
        <pc:spChg chg="add mod">
          <ac:chgData name="Maximilian Maier" userId="2dea75bf-1e61-418a-9a4e-3c96e4410998" providerId="ADAL" clId="{E5FA7755-4464-4339-8923-4731CE90646D}" dt="2023-12-01T11:53:23.785" v="2197" actId="20577"/>
          <ac:spMkLst>
            <pc:docMk/>
            <pc:sldMk cId="2716848136" sldId="2147469679"/>
            <ac:spMk id="53" creationId="{90B38DA5-DE2C-CE93-4058-3C1EA31F1E12}"/>
          </ac:spMkLst>
        </pc:spChg>
        <pc:spChg chg="add mod">
          <ac:chgData name="Maximilian Maier" userId="2dea75bf-1e61-418a-9a4e-3c96e4410998" providerId="ADAL" clId="{E5FA7755-4464-4339-8923-4731CE90646D}" dt="2023-12-01T11:53:07.905" v="2154"/>
          <ac:spMkLst>
            <pc:docMk/>
            <pc:sldMk cId="2716848136" sldId="2147469679"/>
            <ac:spMk id="54" creationId="{D3AD2493-38C7-5F1E-BDED-C156C3AD93E2}"/>
          </ac:spMkLst>
        </pc:spChg>
        <pc:spChg chg="add del mod">
          <ac:chgData name="Maximilian Maier" userId="2dea75bf-1e61-418a-9a4e-3c96e4410998" providerId="ADAL" clId="{E5FA7755-4464-4339-8923-4731CE90646D}" dt="2023-12-04T09:21:28.415" v="2688" actId="478"/>
          <ac:spMkLst>
            <pc:docMk/>
            <pc:sldMk cId="2716848136" sldId="2147469679"/>
            <ac:spMk id="55" creationId="{2D84B927-5875-DA2A-61D9-702FE760A885}"/>
          </ac:spMkLst>
        </pc:spChg>
        <pc:spChg chg="mod">
          <ac:chgData name="Maximilian Maier" userId="2dea75bf-1e61-418a-9a4e-3c96e4410998" providerId="ADAL" clId="{E5FA7755-4464-4339-8923-4731CE90646D}" dt="2023-12-04T09:23:39.456" v="2705"/>
          <ac:spMkLst>
            <pc:docMk/>
            <pc:sldMk cId="2716848136" sldId="2147469679"/>
            <ac:spMk id="56" creationId="{6D71CC6B-4725-6BD8-1D17-6FB44F09EB51}"/>
          </ac:spMkLst>
        </pc:spChg>
        <pc:spChg chg="mod">
          <ac:chgData name="Maximilian Maier" userId="2dea75bf-1e61-418a-9a4e-3c96e4410998" providerId="ADAL" clId="{E5FA7755-4464-4339-8923-4731CE90646D}" dt="2023-12-04T09:24:36.816" v="2712"/>
          <ac:spMkLst>
            <pc:docMk/>
            <pc:sldMk cId="2716848136" sldId="2147469679"/>
            <ac:spMk id="58" creationId="{533E8A35-B651-25F6-C993-C17E900A732B}"/>
          </ac:spMkLst>
        </pc:spChg>
        <pc:spChg chg="mod">
          <ac:chgData name="Maximilian Maier" userId="2dea75bf-1e61-418a-9a4e-3c96e4410998" providerId="ADAL" clId="{E5FA7755-4464-4339-8923-4731CE90646D}" dt="2023-12-04T09:24:36.816" v="2712"/>
          <ac:spMkLst>
            <pc:docMk/>
            <pc:sldMk cId="2716848136" sldId="2147469679"/>
            <ac:spMk id="59" creationId="{4A0A8175-7196-A487-8CFC-795FE8AC898D}"/>
          </ac:spMkLst>
        </pc:spChg>
        <pc:spChg chg="mod">
          <ac:chgData name="Maximilian Maier" userId="2dea75bf-1e61-418a-9a4e-3c96e4410998" providerId="ADAL" clId="{E5FA7755-4464-4339-8923-4731CE90646D}" dt="2023-12-04T09:24:37.082" v="2713"/>
          <ac:spMkLst>
            <pc:docMk/>
            <pc:sldMk cId="2716848136" sldId="2147469679"/>
            <ac:spMk id="61" creationId="{06C15434-BD01-C1F5-2DC8-02D6506323BD}"/>
          </ac:spMkLst>
        </pc:spChg>
        <pc:spChg chg="mod">
          <ac:chgData name="Maximilian Maier" userId="2dea75bf-1e61-418a-9a4e-3c96e4410998" providerId="ADAL" clId="{E5FA7755-4464-4339-8923-4731CE90646D}" dt="2023-12-04T09:24:37.082" v="2713"/>
          <ac:spMkLst>
            <pc:docMk/>
            <pc:sldMk cId="2716848136" sldId="2147469679"/>
            <ac:spMk id="62" creationId="{CBF2F636-CA9D-2C58-B54B-EEC0F43858F2}"/>
          </ac:spMkLst>
        </pc:spChg>
        <pc:spChg chg="mod">
          <ac:chgData name="Maximilian Maier" userId="2dea75bf-1e61-418a-9a4e-3c96e4410998" providerId="ADAL" clId="{E5FA7755-4464-4339-8923-4731CE90646D}" dt="2023-12-04T09:24:39.516" v="2716"/>
          <ac:spMkLst>
            <pc:docMk/>
            <pc:sldMk cId="2716848136" sldId="2147469679"/>
            <ac:spMk id="64" creationId="{0A156C16-47EA-F65D-4839-C71E3489EB20}"/>
          </ac:spMkLst>
        </pc:spChg>
        <pc:spChg chg="mod">
          <ac:chgData name="Maximilian Maier" userId="2dea75bf-1e61-418a-9a4e-3c96e4410998" providerId="ADAL" clId="{E5FA7755-4464-4339-8923-4731CE90646D}" dt="2023-12-04T09:24:39.516" v="2716"/>
          <ac:spMkLst>
            <pc:docMk/>
            <pc:sldMk cId="2716848136" sldId="2147469679"/>
            <ac:spMk id="65" creationId="{F38A4DA7-D777-9487-19A6-DFB144CC6878}"/>
          </ac:spMkLst>
        </pc:spChg>
        <pc:spChg chg="mod">
          <ac:chgData name="Maximilian Maier" userId="2dea75bf-1e61-418a-9a4e-3c96e4410998" providerId="ADAL" clId="{E5FA7755-4464-4339-8923-4731CE90646D}" dt="2023-12-04T09:25:06.730" v="2721"/>
          <ac:spMkLst>
            <pc:docMk/>
            <pc:sldMk cId="2716848136" sldId="2147469679"/>
            <ac:spMk id="67" creationId="{972F588A-CE3E-307B-A210-5FA1F8101E7A}"/>
          </ac:spMkLst>
        </pc:spChg>
        <pc:spChg chg="mod">
          <ac:chgData name="Maximilian Maier" userId="2dea75bf-1e61-418a-9a4e-3c96e4410998" providerId="ADAL" clId="{E5FA7755-4464-4339-8923-4731CE90646D}" dt="2023-12-04T09:25:06.730" v="2721"/>
          <ac:spMkLst>
            <pc:docMk/>
            <pc:sldMk cId="2716848136" sldId="2147469679"/>
            <ac:spMk id="68" creationId="{F1A04FCD-CE1F-D842-A291-450AC98860B3}"/>
          </ac:spMkLst>
        </pc:spChg>
        <pc:grpChg chg="add mod">
          <ac:chgData name="Maximilian Maier" userId="2dea75bf-1e61-418a-9a4e-3c96e4410998" providerId="ADAL" clId="{E5FA7755-4464-4339-8923-4731CE90646D}" dt="2023-12-04T09:23:41.907" v="2706" actId="1076"/>
          <ac:grpSpMkLst>
            <pc:docMk/>
            <pc:sldMk cId="2716848136" sldId="2147469679"/>
            <ac:grpSpMk id="2" creationId="{DD10FF46-EFE5-A283-86B8-11D6AA5A237F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7" creationId="{8CBC7CD3-D289-E79F-06A2-1EB0E895373D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10" creationId="{F63E04E8-2484-C9E4-2BCF-D9AC0B06B83D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13" creationId="{665B5761-0DFB-1925-55EF-88F0336AF41C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16" creationId="{6E406392-6FB0-73BB-7EEC-0D957D263B11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20" creationId="{C8DEA3D6-0712-D68C-266E-90036171335A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24" creationId="{B08DE59F-07B3-2936-6D4C-21B9493E03A5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28" creationId="{A133F3AB-8F36-39B4-3426-D4F2D2B76560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32" creationId="{C746017D-41FD-39C9-59B9-946BD4EBA1C3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37" creationId="{E223EBDD-7196-AE6F-27B6-EC33B9F7A51D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43" creationId="{E917D21A-6C37-7B53-FDA4-FF589A227281}"/>
          </ac:grpSpMkLst>
        </pc:grpChg>
        <pc:grpChg chg="mod">
          <ac:chgData name="Maximilian Maier" userId="2dea75bf-1e61-418a-9a4e-3c96e4410998" providerId="ADAL" clId="{E5FA7755-4464-4339-8923-4731CE90646D}" dt="2023-12-01T11:52:20.545" v="2048" actId="1036"/>
          <ac:grpSpMkLst>
            <pc:docMk/>
            <pc:sldMk cId="2716848136" sldId="2147469679"/>
            <ac:grpSpMk id="49" creationId="{05606DCD-548B-0D85-67C1-4127768C117B}"/>
          </ac:grpSpMkLst>
        </pc:grpChg>
        <pc:grpChg chg="add del mod">
          <ac:chgData name="Maximilian Maier" userId="2dea75bf-1e61-418a-9a4e-3c96e4410998" providerId="ADAL" clId="{E5FA7755-4464-4339-8923-4731CE90646D}" dt="2023-12-04T09:24:39.045" v="2715"/>
          <ac:grpSpMkLst>
            <pc:docMk/>
            <pc:sldMk cId="2716848136" sldId="2147469679"/>
            <ac:grpSpMk id="57" creationId="{80DC88F7-97FD-1ACA-B8AB-FF1BA3C48246}"/>
          </ac:grpSpMkLst>
        </pc:grpChg>
        <pc:grpChg chg="add del mod">
          <ac:chgData name="Maximilian Maier" userId="2dea75bf-1e61-418a-9a4e-3c96e4410998" providerId="ADAL" clId="{E5FA7755-4464-4339-8923-4731CE90646D}" dt="2023-12-04T09:24:38.236" v="2714"/>
          <ac:grpSpMkLst>
            <pc:docMk/>
            <pc:sldMk cId="2716848136" sldId="2147469679"/>
            <ac:grpSpMk id="60" creationId="{D19789BD-26D2-051A-10E4-FC7552DB10EB}"/>
          </ac:grpSpMkLst>
        </pc:grpChg>
        <pc:grpChg chg="add mod">
          <ac:chgData name="Maximilian Maier" userId="2dea75bf-1e61-418a-9a4e-3c96e4410998" providerId="ADAL" clId="{E5FA7755-4464-4339-8923-4731CE90646D}" dt="2023-12-04T09:24:45.200" v="2717" actId="1076"/>
          <ac:grpSpMkLst>
            <pc:docMk/>
            <pc:sldMk cId="2716848136" sldId="2147469679"/>
            <ac:grpSpMk id="63" creationId="{230358CA-575C-67A0-1B0A-1FA5DDAAA080}"/>
          </ac:grpSpMkLst>
        </pc:grpChg>
        <pc:grpChg chg="add mod">
          <ac:chgData name="Maximilian Maier" userId="2dea75bf-1e61-418a-9a4e-3c96e4410998" providerId="ADAL" clId="{E5FA7755-4464-4339-8923-4731CE90646D}" dt="2023-12-04T09:25:10.287" v="2722" actId="1076"/>
          <ac:grpSpMkLst>
            <pc:docMk/>
            <pc:sldMk cId="2716848136" sldId="2147469679"/>
            <ac:grpSpMk id="66" creationId="{10994392-CEBF-C141-FE4B-750D5E5A0555}"/>
          </ac:grpSpMkLst>
        </pc:grpChg>
      </pc:sldChg>
      <pc:sldChg chg="add del ord">
        <pc:chgData name="Maximilian Maier" userId="2dea75bf-1e61-418a-9a4e-3c96e4410998" providerId="ADAL" clId="{E5FA7755-4464-4339-8923-4731CE90646D}" dt="2023-12-04T12:05:38.615" v="7331" actId="47"/>
        <pc:sldMkLst>
          <pc:docMk/>
          <pc:sldMk cId="4229397063" sldId="214746968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482646100" sldId="214747826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055282378" sldId="214747826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030618781" sldId="214747835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122403014" sldId="214747835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22533716" sldId="214747835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91369568" sldId="214747835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783930968" sldId="214747837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700066130" sldId="2147478385"/>
        </pc:sldMkLst>
      </pc:sldChg>
      <pc:sldChg chg="add del">
        <pc:chgData name="Maximilian Maier" userId="2dea75bf-1e61-418a-9a4e-3c96e4410998" providerId="ADAL" clId="{E5FA7755-4464-4339-8923-4731CE90646D}" dt="2023-12-01T12:01:05.106" v="2201" actId="2696"/>
        <pc:sldMkLst>
          <pc:docMk/>
          <pc:sldMk cId="556424547" sldId="2147478390"/>
        </pc:sldMkLst>
      </pc:sldChg>
      <pc:sldChg chg="addSp delSp modSp add del mod modClrScheme chgLayout">
        <pc:chgData name="Maximilian Maier" userId="2dea75bf-1e61-418a-9a4e-3c96e4410998" providerId="ADAL" clId="{E5FA7755-4464-4339-8923-4731CE90646D}" dt="2023-12-04T09:50:23.773" v="3002" actId="47"/>
        <pc:sldMkLst>
          <pc:docMk/>
          <pc:sldMk cId="1610620638" sldId="2147478390"/>
        </pc:sldMkLst>
        <pc:spChg chg="mod ord">
          <ac:chgData name="Maximilian Maier" userId="2dea75bf-1e61-418a-9a4e-3c96e4410998" providerId="ADAL" clId="{E5FA7755-4464-4339-8923-4731CE90646D}" dt="2023-12-01T12:01:18.235" v="2206" actId="700"/>
          <ac:spMkLst>
            <pc:docMk/>
            <pc:sldMk cId="1610620638" sldId="2147478390"/>
            <ac:spMk id="2" creationId="{8EB42B7B-414A-4155-AF15-51925E1E8A92}"/>
          </ac:spMkLst>
        </pc:spChg>
        <pc:spChg chg="add del mod ord">
          <ac:chgData name="Maximilian Maier" userId="2dea75bf-1e61-418a-9a4e-3c96e4410998" providerId="ADAL" clId="{E5FA7755-4464-4339-8923-4731CE90646D}" dt="2023-12-01T12:01:18.235" v="2206" actId="700"/>
          <ac:spMkLst>
            <pc:docMk/>
            <pc:sldMk cId="1610620638" sldId="2147478390"/>
            <ac:spMk id="3" creationId="{FAEE83B4-8107-9988-E0C1-26A8180A6047}"/>
          </ac:spMkLst>
        </pc:spChg>
        <pc:spChg chg="add del mod ord">
          <ac:chgData name="Maximilian Maier" userId="2dea75bf-1e61-418a-9a4e-3c96e4410998" providerId="ADAL" clId="{E5FA7755-4464-4339-8923-4731CE90646D}" dt="2023-12-01T12:01:18.235" v="2206" actId="700"/>
          <ac:spMkLst>
            <pc:docMk/>
            <pc:sldMk cId="1610620638" sldId="2147478390"/>
            <ac:spMk id="4" creationId="{3DE0A6CD-90EF-4D03-80CC-0C4F4329EB30}"/>
          </ac:spMkLst>
        </pc:spChg>
      </pc:sldChg>
      <pc:sldChg chg="add del">
        <pc:chgData name="Maximilian Maier" userId="2dea75bf-1e61-418a-9a4e-3c96e4410998" providerId="ADAL" clId="{E5FA7755-4464-4339-8923-4731CE90646D}" dt="2023-12-01T12:01:05.106" v="2201" actId="2696"/>
        <pc:sldMkLst>
          <pc:docMk/>
          <pc:sldMk cId="1774216747" sldId="2147478393"/>
        </pc:sldMkLst>
      </pc:sldChg>
      <pc:sldChg chg="addSp delSp modSp add del mod modClrScheme addAnim delAnim modAnim chgLayout">
        <pc:chgData name="Maximilian Maier" userId="2dea75bf-1e61-418a-9a4e-3c96e4410998" providerId="ADAL" clId="{E5FA7755-4464-4339-8923-4731CE90646D}" dt="2023-12-05T10:10:03.491" v="9348" actId="47"/>
        <pc:sldMkLst>
          <pc:docMk/>
          <pc:sldMk cId="3652274477" sldId="2147478393"/>
        </pc:sldMkLst>
        <pc:spChg chg="mod ord">
          <ac:chgData name="Maximilian Maier" userId="2dea75bf-1e61-418a-9a4e-3c96e4410998" providerId="ADAL" clId="{E5FA7755-4464-4339-8923-4731CE90646D}" dt="2023-12-04T14:57:39.022" v="9112" actId="20577"/>
          <ac:spMkLst>
            <pc:docMk/>
            <pc:sldMk cId="3652274477" sldId="2147478393"/>
            <ac:spMk id="2" creationId="{8EB42B7B-414A-4155-AF15-51925E1E8A92}"/>
          </ac:spMkLst>
        </pc:spChg>
        <pc:spChg chg="add del mod ord">
          <ac:chgData name="Maximilian Maier" userId="2dea75bf-1e61-418a-9a4e-3c96e4410998" providerId="ADAL" clId="{E5FA7755-4464-4339-8923-4731CE90646D}" dt="2023-12-01T12:01:18.235" v="2206" actId="700"/>
          <ac:spMkLst>
            <pc:docMk/>
            <pc:sldMk cId="3652274477" sldId="2147478393"/>
            <ac:spMk id="3" creationId="{49A4A313-B854-4A14-05B1-F2559220073F}"/>
          </ac:spMkLst>
        </pc:spChg>
        <pc:spChg chg="add del mod ord">
          <ac:chgData name="Maximilian Maier" userId="2dea75bf-1e61-418a-9a4e-3c96e4410998" providerId="ADAL" clId="{E5FA7755-4464-4339-8923-4731CE90646D}" dt="2023-12-04T15:00:43.199" v="9151" actId="478"/>
          <ac:spMkLst>
            <pc:docMk/>
            <pc:sldMk cId="3652274477" sldId="2147478393"/>
            <ac:spMk id="13" creationId="{BB3F21FD-DD2C-312C-3E33-27902DA96343}"/>
          </ac:spMkLst>
        </pc:spChg>
        <pc:spChg chg="add del mod ord">
          <ac:chgData name="Maximilian Maier" userId="2dea75bf-1e61-418a-9a4e-3c96e4410998" providerId="ADAL" clId="{E5FA7755-4464-4339-8923-4731CE90646D}" dt="2023-12-01T12:01:18.235" v="2206" actId="700"/>
          <ac:spMkLst>
            <pc:docMk/>
            <pc:sldMk cId="3652274477" sldId="2147478393"/>
            <ac:spMk id="13" creationId="{E34B10DB-4A02-F12A-0C97-750CDFDF3D82}"/>
          </ac:spMkLst>
        </pc:spChg>
        <pc:spChg chg="mod">
          <ac:chgData name="Maximilian Maier" userId="2dea75bf-1e61-418a-9a4e-3c96e4410998" providerId="ADAL" clId="{E5FA7755-4464-4339-8923-4731CE90646D}" dt="2023-12-01T12:06:06.495" v="2530" actId="404"/>
          <ac:spMkLst>
            <pc:docMk/>
            <pc:sldMk cId="3652274477" sldId="2147478393"/>
            <ac:spMk id="14" creationId="{7C4B6A55-6DED-FC53-F90D-022BF7C1D346}"/>
          </ac:spMkLst>
        </pc:spChg>
        <pc:spChg chg="mod">
          <ac:chgData name="Maximilian Maier" userId="2dea75bf-1e61-418a-9a4e-3c96e4410998" providerId="ADAL" clId="{E5FA7755-4464-4339-8923-4731CE90646D}" dt="2023-12-01T12:06:14.842" v="2532" actId="14100"/>
          <ac:spMkLst>
            <pc:docMk/>
            <pc:sldMk cId="3652274477" sldId="2147478393"/>
            <ac:spMk id="15" creationId="{00DBF9C6-A97F-8D37-7C1E-28305C003A70}"/>
          </ac:spMkLst>
        </pc:spChg>
        <pc:spChg chg="mod">
          <ac:chgData name="Maximilian Maier" userId="2dea75bf-1e61-418a-9a4e-3c96e4410998" providerId="ADAL" clId="{E5FA7755-4464-4339-8923-4731CE90646D}" dt="2023-12-01T12:06:18.818" v="2533" actId="14100"/>
          <ac:spMkLst>
            <pc:docMk/>
            <pc:sldMk cId="3652274477" sldId="2147478393"/>
            <ac:spMk id="16" creationId="{07662595-9B4B-3045-AF5B-098CA6C845DB}"/>
          </ac:spMkLst>
        </pc:spChg>
        <pc:spChg chg="mod">
          <ac:chgData name="Maximilian Maier" userId="2dea75bf-1e61-418a-9a4e-3c96e4410998" providerId="ADAL" clId="{E5FA7755-4464-4339-8923-4731CE90646D}" dt="2023-12-01T12:06:06.495" v="2530" actId="404"/>
          <ac:spMkLst>
            <pc:docMk/>
            <pc:sldMk cId="3652274477" sldId="2147478393"/>
            <ac:spMk id="17" creationId="{A904C489-C9B9-A303-4042-28C131AB1D14}"/>
          </ac:spMkLst>
        </pc:spChg>
        <pc:spChg chg="mod">
          <ac:chgData name="Maximilian Maier" userId="2dea75bf-1e61-418a-9a4e-3c96e4410998" providerId="ADAL" clId="{E5FA7755-4464-4339-8923-4731CE90646D}" dt="2023-12-01T12:07:18.127" v="2552" actId="1035"/>
          <ac:spMkLst>
            <pc:docMk/>
            <pc:sldMk cId="3652274477" sldId="2147478393"/>
            <ac:spMk id="18" creationId="{24864021-9C78-42B1-D11B-C9CB93424E1E}"/>
          </ac:spMkLst>
        </pc:spChg>
        <pc:spChg chg="mod">
          <ac:chgData name="Maximilian Maier" userId="2dea75bf-1e61-418a-9a4e-3c96e4410998" providerId="ADAL" clId="{E5FA7755-4464-4339-8923-4731CE90646D}" dt="2023-12-01T12:06:06.495" v="2530" actId="404"/>
          <ac:spMkLst>
            <pc:docMk/>
            <pc:sldMk cId="3652274477" sldId="2147478393"/>
            <ac:spMk id="19" creationId="{80FFAD7B-3CE3-02CE-EE97-346A19C0CA41}"/>
          </ac:spMkLst>
        </pc:spChg>
        <pc:spChg chg="mod">
          <ac:chgData name="Maximilian Maier" userId="2dea75bf-1e61-418a-9a4e-3c96e4410998" providerId="ADAL" clId="{E5FA7755-4464-4339-8923-4731CE90646D}" dt="2023-12-01T12:06:06.495" v="2530" actId="404"/>
          <ac:spMkLst>
            <pc:docMk/>
            <pc:sldMk cId="3652274477" sldId="2147478393"/>
            <ac:spMk id="20" creationId="{82986CF6-35D2-EF5A-7DD8-7D0E9816D6F0}"/>
          </ac:spMkLst>
        </pc:spChg>
        <pc:spChg chg="mod">
          <ac:chgData name="Maximilian Maier" userId="2dea75bf-1e61-418a-9a4e-3c96e4410998" providerId="ADAL" clId="{E5FA7755-4464-4339-8923-4731CE90646D}" dt="2023-12-01T12:06:22.503" v="2534" actId="14100"/>
          <ac:spMkLst>
            <pc:docMk/>
            <pc:sldMk cId="3652274477" sldId="2147478393"/>
            <ac:spMk id="21" creationId="{DDB90F18-F3E1-7AEA-9150-9CD274645066}"/>
          </ac:spMkLst>
        </pc:spChg>
        <pc:spChg chg="add del mod ord">
          <ac:chgData name="Maximilian Maier" userId="2dea75bf-1e61-418a-9a4e-3c96e4410998" providerId="ADAL" clId="{E5FA7755-4464-4339-8923-4731CE90646D}" dt="2023-12-04T14:57:15.906" v="9089"/>
          <ac:spMkLst>
            <pc:docMk/>
            <pc:sldMk cId="3652274477" sldId="2147478393"/>
            <ac:spMk id="22" creationId="{C4B34DD1-9F9A-4FF1-CF86-EA3F387E7A42}"/>
          </ac:spMkLst>
        </pc:spChg>
        <pc:spChg chg="mod">
          <ac:chgData name="Maximilian Maier" userId="2dea75bf-1e61-418a-9a4e-3c96e4410998" providerId="ADAL" clId="{E5FA7755-4464-4339-8923-4731CE90646D}" dt="2023-12-01T12:06:11.717" v="2531" actId="14100"/>
          <ac:spMkLst>
            <pc:docMk/>
            <pc:sldMk cId="3652274477" sldId="2147478393"/>
            <ac:spMk id="23" creationId="{545C4F88-FDE7-F438-2DBD-33ABA32D1B66}"/>
          </ac:spMkLst>
        </pc:spChg>
        <pc:spChg chg="del mod">
          <ac:chgData name="Maximilian Maier" userId="2dea75bf-1e61-418a-9a4e-3c96e4410998" providerId="ADAL" clId="{E5FA7755-4464-4339-8923-4731CE90646D}" dt="2023-12-01T12:01:41.875" v="2212" actId="478"/>
          <ac:spMkLst>
            <pc:docMk/>
            <pc:sldMk cId="3652274477" sldId="2147478393"/>
            <ac:spMk id="28" creationId="{4B1CF7B6-F801-DF82-2765-D04ED2668607}"/>
          </ac:spMkLst>
        </pc:spChg>
        <pc:spChg chg="add del mod ord">
          <ac:chgData name="Maximilian Maier" userId="2dea75bf-1e61-418a-9a4e-3c96e4410998" providerId="ADAL" clId="{E5FA7755-4464-4339-8923-4731CE90646D}" dt="2023-12-04T09:37:57.088" v="2901" actId="700"/>
          <ac:spMkLst>
            <pc:docMk/>
            <pc:sldMk cId="3652274477" sldId="2147478393"/>
            <ac:spMk id="28" creationId="{524C9101-B265-FFB9-387E-720DCA415B67}"/>
          </ac:spMkLst>
        </pc:spChg>
        <pc:spChg chg="add del mod ord">
          <ac:chgData name="Maximilian Maier" userId="2dea75bf-1e61-418a-9a4e-3c96e4410998" providerId="ADAL" clId="{E5FA7755-4464-4339-8923-4731CE90646D}" dt="2023-12-01T12:04:15.363" v="2461" actId="478"/>
          <ac:spMkLst>
            <pc:docMk/>
            <pc:sldMk cId="3652274477" sldId="2147478393"/>
            <ac:spMk id="35" creationId="{00503EE1-AD71-22DE-3318-B24193FE4AA2}"/>
          </ac:spMkLst>
        </pc:spChg>
        <pc:spChg chg="add del mod">
          <ac:chgData name="Maximilian Maier" userId="2dea75bf-1e61-418a-9a4e-3c96e4410998" providerId="ADAL" clId="{E5FA7755-4464-4339-8923-4731CE90646D}" dt="2023-12-04T09:41:08.985" v="2922"/>
          <ac:spMkLst>
            <pc:docMk/>
            <pc:sldMk cId="3652274477" sldId="2147478393"/>
            <ac:spMk id="35" creationId="{74F33C50-6DD4-B56B-8B6E-AF89209C3CFA}"/>
          </ac:spMkLst>
        </pc:spChg>
        <pc:spChg chg="add del mod">
          <ac:chgData name="Maximilian Maier" userId="2dea75bf-1e61-418a-9a4e-3c96e4410998" providerId="ADAL" clId="{E5FA7755-4464-4339-8923-4731CE90646D}" dt="2023-12-01T12:04:24.479" v="2463"/>
          <ac:spMkLst>
            <pc:docMk/>
            <pc:sldMk cId="3652274477" sldId="2147478393"/>
            <ac:spMk id="37" creationId="{0B83A16B-085E-AA85-EF69-D3EDEEA9AD35}"/>
          </ac:spMkLst>
        </pc:spChg>
        <pc:spChg chg="add del mod">
          <ac:chgData name="Maximilian Maier" userId="2dea75bf-1e61-418a-9a4e-3c96e4410998" providerId="ADAL" clId="{E5FA7755-4464-4339-8923-4731CE90646D}" dt="2023-12-01T12:04:24.479" v="2463"/>
          <ac:spMkLst>
            <pc:docMk/>
            <pc:sldMk cId="3652274477" sldId="2147478393"/>
            <ac:spMk id="38" creationId="{B3677CDE-CA7E-913A-5034-B0A624E01AF6}"/>
          </ac:spMkLst>
        </pc:spChg>
        <pc:spChg chg="add del mod">
          <ac:chgData name="Maximilian Maier" userId="2dea75bf-1e61-418a-9a4e-3c96e4410998" providerId="ADAL" clId="{E5FA7755-4464-4339-8923-4731CE90646D}" dt="2023-12-01T12:04:27.140" v="2464" actId="478"/>
          <ac:spMkLst>
            <pc:docMk/>
            <pc:sldMk cId="3652274477" sldId="2147478393"/>
            <ac:spMk id="39" creationId="{9B2DF35B-A715-438C-67B8-1B14FB45BF4E}"/>
          </ac:spMkLst>
        </pc:spChg>
        <pc:spChg chg="add del mod ord">
          <ac:chgData name="Maximilian Maier" userId="2dea75bf-1e61-418a-9a4e-3c96e4410998" providerId="ADAL" clId="{E5FA7755-4464-4339-8923-4731CE90646D}" dt="2023-12-04T09:36:19.448" v="2887" actId="478"/>
          <ac:spMkLst>
            <pc:docMk/>
            <pc:sldMk cId="3652274477" sldId="2147478393"/>
            <ac:spMk id="40" creationId="{1CBBD3E4-EDF4-962A-77B7-C22DA35D04B8}"/>
          </ac:spMkLst>
        </pc:spChg>
        <pc:spChg chg="add mod">
          <ac:chgData name="Maximilian Maier" userId="2dea75bf-1e61-418a-9a4e-3c96e4410998" providerId="ADAL" clId="{E5FA7755-4464-4339-8923-4731CE90646D}" dt="2023-12-04T09:42:56.584" v="2945" actId="1076"/>
          <ac:spMkLst>
            <pc:docMk/>
            <pc:sldMk cId="3652274477" sldId="2147478393"/>
            <ac:spMk id="41" creationId="{85D83355-498D-5C59-31B5-A6DD9CE7105D}"/>
          </ac:spMkLst>
        </pc:spChg>
        <pc:spChg chg="mod">
          <ac:chgData name="Maximilian Maier" userId="2dea75bf-1e61-418a-9a4e-3c96e4410998" providerId="ADAL" clId="{E5FA7755-4464-4339-8923-4731CE90646D}" dt="2023-12-01T12:01:29.636" v="2210" actId="368"/>
          <ac:spMkLst>
            <pc:docMk/>
            <pc:sldMk cId="3652274477" sldId="2147478393"/>
            <ac:spMk id="42" creationId="{A8066A2F-CC0E-2E12-762E-D0B3F8D5E301}"/>
          </ac:spMkLst>
        </pc:spChg>
        <pc:spChg chg="mod">
          <ac:chgData name="Maximilian Maier" userId="2dea75bf-1e61-418a-9a4e-3c96e4410998" providerId="ADAL" clId="{E5FA7755-4464-4339-8923-4731CE90646D}" dt="2023-12-01T12:01:29.636" v="2210" actId="368"/>
          <ac:spMkLst>
            <pc:docMk/>
            <pc:sldMk cId="3652274477" sldId="2147478393"/>
            <ac:spMk id="43" creationId="{9FFC804B-47E9-EFF6-DE97-136C31991D24}"/>
          </ac:spMkLst>
        </pc:spChg>
        <pc:spChg chg="mod">
          <ac:chgData name="Maximilian Maier" userId="2dea75bf-1e61-418a-9a4e-3c96e4410998" providerId="ADAL" clId="{E5FA7755-4464-4339-8923-4731CE90646D}" dt="2023-12-01T12:01:29.636" v="2210" actId="368"/>
          <ac:spMkLst>
            <pc:docMk/>
            <pc:sldMk cId="3652274477" sldId="2147478393"/>
            <ac:spMk id="44" creationId="{4CFBFD3F-74C4-4D19-BDB1-3889F22288A0}"/>
          </ac:spMkLst>
        </pc:spChg>
        <pc:spChg chg="mod">
          <ac:chgData name="Maximilian Maier" userId="2dea75bf-1e61-418a-9a4e-3c96e4410998" providerId="ADAL" clId="{E5FA7755-4464-4339-8923-4731CE90646D}" dt="2023-12-01T12:01:29.636" v="2210" actId="368"/>
          <ac:spMkLst>
            <pc:docMk/>
            <pc:sldMk cId="3652274477" sldId="2147478393"/>
            <ac:spMk id="46" creationId="{FB37A129-AF2D-44ED-2E66-149B05B1DBC7}"/>
          </ac:spMkLst>
        </pc:spChg>
        <pc:spChg chg="mod">
          <ac:chgData name="Maximilian Maier" userId="2dea75bf-1e61-418a-9a4e-3c96e4410998" providerId="ADAL" clId="{E5FA7755-4464-4339-8923-4731CE90646D}" dt="2023-12-01T12:01:29.636" v="2210" actId="368"/>
          <ac:spMkLst>
            <pc:docMk/>
            <pc:sldMk cId="3652274477" sldId="2147478393"/>
            <ac:spMk id="49" creationId="{9E366168-376A-5D66-0745-C7FFE52C09FB}"/>
          </ac:spMkLst>
        </pc:spChg>
        <pc:spChg chg="add del mod">
          <ac:chgData name="Maximilian Maier" userId="2dea75bf-1e61-418a-9a4e-3c96e4410998" providerId="ADAL" clId="{E5FA7755-4464-4339-8923-4731CE90646D}" dt="2023-12-04T09:46:13.295" v="2996" actId="1076"/>
          <ac:spMkLst>
            <pc:docMk/>
            <pc:sldMk cId="3652274477" sldId="2147478393"/>
            <ac:spMk id="62" creationId="{C350D8FB-F58A-AA34-2143-5F03E9ACF6A0}"/>
          </ac:spMkLst>
        </pc:spChg>
        <pc:spChg chg="mod">
          <ac:chgData name="Maximilian Maier" userId="2dea75bf-1e61-418a-9a4e-3c96e4410998" providerId="ADAL" clId="{E5FA7755-4464-4339-8923-4731CE90646D}" dt="2023-12-01T12:06:31.553" v="2536" actId="404"/>
          <ac:spMkLst>
            <pc:docMk/>
            <pc:sldMk cId="3652274477" sldId="2147478393"/>
            <ac:spMk id="63" creationId="{31DF1A5F-4526-C6D0-9EC9-0129355EDDEE}"/>
          </ac:spMkLst>
        </pc:spChg>
        <pc:spChg chg="mod">
          <ac:chgData name="Maximilian Maier" userId="2dea75bf-1e61-418a-9a4e-3c96e4410998" providerId="ADAL" clId="{E5FA7755-4464-4339-8923-4731CE90646D}" dt="2023-12-01T12:06:36.088" v="2538" actId="14100"/>
          <ac:spMkLst>
            <pc:docMk/>
            <pc:sldMk cId="3652274477" sldId="2147478393"/>
            <ac:spMk id="64" creationId="{F3056209-4DF2-CA22-3924-D5A805820738}"/>
          </ac:spMkLst>
        </pc:spChg>
        <pc:spChg chg="mod">
          <ac:chgData name="Maximilian Maier" userId="2dea75bf-1e61-418a-9a4e-3c96e4410998" providerId="ADAL" clId="{E5FA7755-4464-4339-8923-4731CE90646D}" dt="2023-12-01T12:06:52.489" v="2542" actId="14100"/>
          <ac:spMkLst>
            <pc:docMk/>
            <pc:sldMk cId="3652274477" sldId="2147478393"/>
            <ac:spMk id="65" creationId="{DA737C8C-3B0C-18D8-1CF2-A6EBC14D555D}"/>
          </ac:spMkLst>
        </pc:spChg>
        <pc:spChg chg="mod">
          <ac:chgData name="Maximilian Maier" userId="2dea75bf-1e61-418a-9a4e-3c96e4410998" providerId="ADAL" clId="{E5FA7755-4464-4339-8923-4731CE90646D}" dt="2023-12-01T12:06:45.269" v="2540" actId="20577"/>
          <ac:spMkLst>
            <pc:docMk/>
            <pc:sldMk cId="3652274477" sldId="2147478393"/>
            <ac:spMk id="67" creationId="{BC86ADC7-4C7E-B73F-B46B-4E2FE964B059}"/>
          </ac:spMkLst>
        </pc:spChg>
        <pc:spChg chg="mod">
          <ac:chgData name="Maximilian Maier" userId="2dea75bf-1e61-418a-9a4e-3c96e4410998" providerId="ADAL" clId="{E5FA7755-4464-4339-8923-4731CE90646D}" dt="2023-12-01T12:06:34.505" v="2537" actId="14100"/>
          <ac:spMkLst>
            <pc:docMk/>
            <pc:sldMk cId="3652274477" sldId="2147478393"/>
            <ac:spMk id="68" creationId="{ACA5EF1B-EF92-3534-08D0-829B3A628CFB}"/>
          </ac:spMkLst>
        </pc:spChg>
        <pc:spChg chg="mod">
          <ac:chgData name="Maximilian Maier" userId="2dea75bf-1e61-418a-9a4e-3c96e4410998" providerId="ADAL" clId="{E5FA7755-4464-4339-8923-4731CE90646D}" dt="2023-12-01T12:06:49.558" v="2541" actId="14100"/>
          <ac:spMkLst>
            <pc:docMk/>
            <pc:sldMk cId="3652274477" sldId="2147478393"/>
            <ac:spMk id="69" creationId="{FCA4D797-292B-5368-8A61-49EFA9321987}"/>
          </ac:spMkLst>
        </pc:spChg>
        <pc:spChg chg="mod">
          <ac:chgData name="Maximilian Maier" userId="2dea75bf-1e61-418a-9a4e-3c96e4410998" providerId="ADAL" clId="{E5FA7755-4464-4339-8923-4731CE90646D}" dt="2023-12-04T09:45:51.049" v="2988" actId="404"/>
          <ac:spMkLst>
            <pc:docMk/>
            <pc:sldMk cId="3652274477" sldId="2147478393"/>
            <ac:spMk id="73" creationId="{5BD3DE97-C2E3-9CFB-15CB-8C23DD18D663}"/>
          </ac:spMkLst>
        </pc:spChg>
        <pc:spChg chg="mod">
          <ac:chgData name="Maximilian Maier" userId="2dea75bf-1e61-418a-9a4e-3c96e4410998" providerId="ADAL" clId="{E5FA7755-4464-4339-8923-4731CE90646D}" dt="2023-12-01T12:06:31.553" v="2536" actId="404"/>
          <ac:spMkLst>
            <pc:docMk/>
            <pc:sldMk cId="3652274477" sldId="2147478393"/>
            <ac:spMk id="74" creationId="{AAEF8B1E-0697-4E2A-C79A-8761449B21BF}"/>
          </ac:spMkLst>
        </pc:spChg>
        <pc:spChg chg="mod">
          <ac:chgData name="Maximilian Maier" userId="2dea75bf-1e61-418a-9a4e-3c96e4410998" providerId="ADAL" clId="{E5FA7755-4464-4339-8923-4731CE90646D}" dt="2023-12-01T12:06:31.553" v="2536" actId="404"/>
          <ac:spMkLst>
            <pc:docMk/>
            <pc:sldMk cId="3652274477" sldId="2147478393"/>
            <ac:spMk id="75" creationId="{20212069-55A1-AA3B-E8B6-2094976CE1AB}"/>
          </ac:spMkLst>
        </pc:spChg>
        <pc:spChg chg="add del">
          <ac:chgData name="Maximilian Maier" userId="2dea75bf-1e61-418a-9a4e-3c96e4410998" providerId="ADAL" clId="{E5FA7755-4464-4339-8923-4731CE90646D}" dt="2023-12-04T10:33:51.496" v="4750" actId="22"/>
          <ac:spMkLst>
            <pc:docMk/>
            <pc:sldMk cId="3652274477" sldId="2147478393"/>
            <ac:spMk id="78" creationId="{6C7E0668-0E5E-D75D-AD5F-97552D9EC367}"/>
          </ac:spMkLst>
        </pc:spChg>
        <pc:spChg chg="add del mod">
          <ac:chgData name="Maximilian Maier" userId="2dea75bf-1e61-418a-9a4e-3c96e4410998" providerId="ADAL" clId="{E5FA7755-4464-4339-8923-4731CE90646D}" dt="2023-12-04T14:56:54.829" v="9079"/>
          <ac:spMkLst>
            <pc:docMk/>
            <pc:sldMk cId="3652274477" sldId="2147478393"/>
            <ac:spMk id="81" creationId="{9D788B36-E1E5-D26D-1393-B0F8811C751D}"/>
          </ac:spMkLst>
        </pc:spChg>
        <pc:spChg chg="add del mod">
          <ac:chgData name="Maximilian Maier" userId="2dea75bf-1e61-418a-9a4e-3c96e4410998" providerId="ADAL" clId="{E5FA7755-4464-4339-8923-4731CE90646D}" dt="2023-12-04T14:56:54.829" v="9079"/>
          <ac:spMkLst>
            <pc:docMk/>
            <pc:sldMk cId="3652274477" sldId="2147478393"/>
            <ac:spMk id="82" creationId="{A99F427C-917F-3CB9-F2E1-9EEE74D95B9F}"/>
          </ac:spMkLst>
        </pc:spChg>
        <pc:spChg chg="add del mod">
          <ac:chgData name="Maximilian Maier" userId="2dea75bf-1e61-418a-9a4e-3c96e4410998" providerId="ADAL" clId="{E5FA7755-4464-4339-8923-4731CE90646D}" dt="2023-12-04T14:57:10.310" v="9085"/>
          <ac:spMkLst>
            <pc:docMk/>
            <pc:sldMk cId="3652274477" sldId="2147478393"/>
            <ac:spMk id="83" creationId="{83E78F95-FEEF-2EEA-94A3-3CB8432186AD}"/>
          </ac:spMkLst>
        </pc:spChg>
        <pc:spChg chg="mod">
          <ac:chgData name="Maximilian Maier" userId="2dea75bf-1e61-418a-9a4e-3c96e4410998" providerId="ADAL" clId="{E5FA7755-4464-4339-8923-4731CE90646D}" dt="2023-12-04T09:44:34.452" v="2948" actId="207"/>
          <ac:spMkLst>
            <pc:docMk/>
            <pc:sldMk cId="3652274477" sldId="2147478393"/>
            <ac:spMk id="85" creationId="{CF650F02-01CE-7B12-E48C-BC60BBEA9147}"/>
          </ac:spMkLst>
        </pc:spChg>
        <pc:spChg chg="add del mod">
          <ac:chgData name="Maximilian Maier" userId="2dea75bf-1e61-418a-9a4e-3c96e4410998" providerId="ADAL" clId="{E5FA7755-4464-4339-8923-4731CE90646D}" dt="2023-12-04T14:57:08.597" v="9084" actId="478"/>
          <ac:spMkLst>
            <pc:docMk/>
            <pc:sldMk cId="3652274477" sldId="2147478393"/>
            <ac:spMk id="86" creationId="{45562179-6C47-F300-9993-6FC4DE2FD8A5}"/>
          </ac:spMkLst>
        </pc:spChg>
        <pc:spChg chg="add del mod">
          <ac:chgData name="Maximilian Maier" userId="2dea75bf-1e61-418a-9a4e-3c96e4410998" providerId="ADAL" clId="{E5FA7755-4464-4339-8923-4731CE90646D}" dt="2023-12-04T14:57:10.310" v="9085"/>
          <ac:spMkLst>
            <pc:docMk/>
            <pc:sldMk cId="3652274477" sldId="2147478393"/>
            <ac:spMk id="87" creationId="{01CB3678-A91E-B388-6979-44BD7EE3268B}"/>
          </ac:spMkLst>
        </pc:spChg>
        <pc:spChg chg="add del mod">
          <ac:chgData name="Maximilian Maier" userId="2dea75bf-1e61-418a-9a4e-3c96e4410998" providerId="ADAL" clId="{E5FA7755-4464-4339-8923-4731CE90646D}" dt="2023-12-04T14:57:10.310" v="9085"/>
          <ac:spMkLst>
            <pc:docMk/>
            <pc:sldMk cId="3652274477" sldId="2147478393"/>
            <ac:spMk id="88" creationId="{701D5AB8-0870-DD2F-9C43-FE82367513A1}"/>
          </ac:spMkLst>
        </pc:spChg>
        <pc:spChg chg="add del mod">
          <ac:chgData name="Maximilian Maier" userId="2dea75bf-1e61-418a-9a4e-3c96e4410998" providerId="ADAL" clId="{E5FA7755-4464-4339-8923-4731CE90646D}" dt="2023-12-04T14:57:15.906" v="9089"/>
          <ac:spMkLst>
            <pc:docMk/>
            <pc:sldMk cId="3652274477" sldId="2147478393"/>
            <ac:spMk id="89" creationId="{ABAF7379-9DEF-A112-E075-58E68717947E}"/>
          </ac:spMkLst>
        </pc:spChg>
        <pc:spChg chg="add del mod">
          <ac:chgData name="Maximilian Maier" userId="2dea75bf-1e61-418a-9a4e-3c96e4410998" providerId="ADAL" clId="{E5FA7755-4464-4339-8923-4731CE90646D}" dt="2023-12-04T14:57:15.906" v="9089"/>
          <ac:spMkLst>
            <pc:docMk/>
            <pc:sldMk cId="3652274477" sldId="2147478393"/>
            <ac:spMk id="90" creationId="{7D979134-C683-3136-F922-05C98E708D40}"/>
          </ac:spMkLst>
        </pc:spChg>
        <pc:spChg chg="add del mod">
          <ac:chgData name="Maximilian Maier" userId="2dea75bf-1e61-418a-9a4e-3c96e4410998" providerId="ADAL" clId="{E5FA7755-4464-4339-8923-4731CE90646D}" dt="2023-12-04T14:57:15.906" v="9089"/>
          <ac:spMkLst>
            <pc:docMk/>
            <pc:sldMk cId="3652274477" sldId="2147478393"/>
            <ac:spMk id="91" creationId="{C97FCDC4-29E0-EEF9-F741-CD9D111FF736}"/>
          </ac:spMkLst>
        </pc:spChg>
        <pc:spChg chg="add del mod">
          <ac:chgData name="Maximilian Maier" userId="2dea75bf-1e61-418a-9a4e-3c96e4410998" providerId="ADAL" clId="{E5FA7755-4464-4339-8923-4731CE90646D}" dt="2023-12-04T14:57:18.134" v="9090" actId="478"/>
          <ac:spMkLst>
            <pc:docMk/>
            <pc:sldMk cId="3652274477" sldId="2147478393"/>
            <ac:spMk id="92" creationId="{C83DE0BA-5065-9BF3-483A-0093D236CCE3}"/>
          </ac:spMkLst>
        </pc:spChg>
        <pc:spChg chg="add del mod">
          <ac:chgData name="Maximilian Maier" userId="2dea75bf-1e61-418a-9a4e-3c96e4410998" providerId="ADAL" clId="{E5FA7755-4464-4339-8923-4731CE90646D}" dt="2023-12-04T15:00:44.237" v="9153"/>
          <ac:spMkLst>
            <pc:docMk/>
            <pc:sldMk cId="3652274477" sldId="2147478393"/>
            <ac:spMk id="93" creationId="{EBDAA41D-F88C-DCFA-CF1B-79EB31CC0574}"/>
          </ac:spMkLst>
        </pc:spChg>
        <pc:spChg chg="add del mod">
          <ac:chgData name="Maximilian Maier" userId="2dea75bf-1e61-418a-9a4e-3c96e4410998" providerId="ADAL" clId="{E5FA7755-4464-4339-8923-4731CE90646D}" dt="2023-12-04T15:00:44.237" v="9153"/>
          <ac:spMkLst>
            <pc:docMk/>
            <pc:sldMk cId="3652274477" sldId="2147478393"/>
            <ac:spMk id="94" creationId="{749FBC23-13A6-0ACA-7DD5-E610C2CCF18F}"/>
          </ac:spMkLst>
        </pc:spChg>
        <pc:spChg chg="mod">
          <ac:chgData name="Maximilian Maier" userId="2dea75bf-1e61-418a-9a4e-3c96e4410998" providerId="ADAL" clId="{E5FA7755-4464-4339-8923-4731CE90646D}" dt="2023-12-04T09:46:00.789" v="2995" actId="1076"/>
          <ac:spMkLst>
            <pc:docMk/>
            <pc:sldMk cId="3652274477" sldId="2147478393"/>
            <ac:spMk id="109" creationId="{2387F2EC-BAF7-5038-F4C0-229BE26C525B}"/>
          </ac:spMkLst>
        </pc:spChg>
        <pc:spChg chg="mod">
          <ac:chgData name="Maximilian Maier" userId="2dea75bf-1e61-418a-9a4e-3c96e4410998" providerId="ADAL" clId="{E5FA7755-4464-4339-8923-4731CE90646D}" dt="2023-12-04T09:45:41.693" v="2981" actId="403"/>
          <ac:spMkLst>
            <pc:docMk/>
            <pc:sldMk cId="3652274477" sldId="2147478393"/>
            <ac:spMk id="110" creationId="{083DC1A0-2512-DA90-97FB-E46E4BE3B1C8}"/>
          </ac:spMkLst>
        </pc:spChg>
        <pc:spChg chg="mod">
          <ac:chgData name="Maximilian Maier" userId="2dea75bf-1e61-418a-9a4e-3c96e4410998" providerId="ADAL" clId="{E5FA7755-4464-4339-8923-4731CE90646D}" dt="2023-12-04T09:39:45.554" v="2911" actId="108"/>
          <ac:spMkLst>
            <pc:docMk/>
            <pc:sldMk cId="3652274477" sldId="2147478393"/>
            <ac:spMk id="127" creationId="{6D31CAF9-1E47-4176-887B-8ABAD4C0C2AD}"/>
          </ac:spMkLst>
        </pc:spChg>
        <pc:spChg chg="mod">
          <ac:chgData name="Maximilian Maier" userId="2dea75bf-1e61-418a-9a4e-3c96e4410998" providerId="ADAL" clId="{E5FA7755-4464-4339-8923-4731CE90646D}" dt="2023-12-05T09:00:56.387" v="9235" actId="1076"/>
          <ac:spMkLst>
            <pc:docMk/>
            <pc:sldMk cId="3652274477" sldId="2147478393"/>
            <ac:spMk id="132" creationId="{7BCB5ECA-4505-557F-C5AB-81824B5B7B8A}"/>
          </ac:spMkLst>
        </pc:spChg>
        <pc:spChg chg="mod">
          <ac:chgData name="Maximilian Maier" userId="2dea75bf-1e61-418a-9a4e-3c96e4410998" providerId="ADAL" clId="{E5FA7755-4464-4339-8923-4731CE90646D}" dt="2023-12-04T09:31:03.278" v="2868" actId="207"/>
          <ac:spMkLst>
            <pc:docMk/>
            <pc:sldMk cId="3652274477" sldId="2147478393"/>
            <ac:spMk id="140" creationId="{31F470BD-0F1C-0B61-18B2-CCDBB5150815}"/>
          </ac:spMkLst>
        </pc:spChg>
        <pc:spChg chg="mod">
          <ac:chgData name="Maximilian Maier" userId="2dea75bf-1e61-418a-9a4e-3c96e4410998" providerId="ADAL" clId="{E5FA7755-4464-4339-8923-4731CE90646D}" dt="2023-12-05T09:00:50.878" v="9234" actId="1076"/>
          <ac:spMkLst>
            <pc:docMk/>
            <pc:sldMk cId="3652274477" sldId="2147478393"/>
            <ac:spMk id="141" creationId="{36E80046-9BBC-D7FC-FB38-27EFB6074788}"/>
          </ac:spMkLst>
        </pc:spChg>
        <pc:grpChg chg="add del mod">
          <ac:chgData name="Maximilian Maier" userId="2dea75bf-1e61-418a-9a4e-3c96e4410998" providerId="ADAL" clId="{E5FA7755-4464-4339-8923-4731CE90646D}" dt="2023-12-04T09:42:56.584" v="2945" actId="1076"/>
          <ac:grpSpMkLst>
            <pc:docMk/>
            <pc:sldMk cId="3652274477" sldId="2147478393"/>
            <ac:grpSpMk id="29" creationId="{E03E8B3B-9633-A64A-ABBB-AC66AE66B502}"/>
          </ac:grpSpMkLst>
        </pc:grpChg>
        <pc:grpChg chg="del">
          <ac:chgData name="Maximilian Maier" userId="2dea75bf-1e61-418a-9a4e-3c96e4410998" providerId="ADAL" clId="{E5FA7755-4464-4339-8923-4731CE90646D}" dt="2023-12-04T09:40:58.802" v="2915" actId="478"/>
          <ac:grpSpMkLst>
            <pc:docMk/>
            <pc:sldMk cId="3652274477" sldId="2147478393"/>
            <ac:grpSpMk id="34" creationId="{4BDC952C-0D4B-5BF0-AEC0-1F81B350EEF5}"/>
          </ac:grpSpMkLst>
        </pc:grpChg>
        <pc:grpChg chg="mod">
          <ac:chgData name="Maximilian Maier" userId="2dea75bf-1e61-418a-9a4e-3c96e4410998" providerId="ADAL" clId="{E5FA7755-4464-4339-8923-4731CE90646D}" dt="2023-12-05T09:00:43.721" v="9231" actId="1076"/>
          <ac:grpSpMkLst>
            <pc:docMk/>
            <pc:sldMk cId="3652274477" sldId="2147478393"/>
            <ac:grpSpMk id="36" creationId="{316458A3-71A0-A4AE-B6E8-92C275E1A8DA}"/>
          </ac:grpSpMkLst>
        </pc:grpChg>
        <pc:grpChg chg="add del">
          <ac:chgData name="Maximilian Maier" userId="2dea75bf-1e61-418a-9a4e-3c96e4410998" providerId="ADAL" clId="{E5FA7755-4464-4339-8923-4731CE90646D}" dt="2023-12-04T09:42:43.754" v="2927" actId="478"/>
          <ac:grpSpMkLst>
            <pc:docMk/>
            <pc:sldMk cId="3652274477" sldId="2147478393"/>
            <ac:grpSpMk id="61" creationId="{82A09A78-A84A-BF70-7B3D-3BC29EAB6460}"/>
          </ac:grpSpMkLst>
        </pc:grpChg>
        <pc:grpChg chg="mod">
          <ac:chgData name="Maximilian Maier" userId="2dea75bf-1e61-418a-9a4e-3c96e4410998" providerId="ADAL" clId="{E5FA7755-4464-4339-8923-4731CE90646D}" dt="2023-12-01T12:11:21.614" v="2642" actId="1036"/>
          <ac:grpSpMkLst>
            <pc:docMk/>
            <pc:sldMk cId="3652274477" sldId="2147478393"/>
            <ac:grpSpMk id="79" creationId="{3587C292-CC9B-F711-59D5-A0E86ED7D78A}"/>
          </ac:grpSpMkLst>
        </pc:grpChg>
        <pc:picChg chg="add del mod ord">
          <ac:chgData name="Maximilian Maier" userId="2dea75bf-1e61-418a-9a4e-3c96e4410998" providerId="ADAL" clId="{E5FA7755-4464-4339-8923-4731CE90646D}" dt="2023-12-04T09:35:46.706" v="2886" actId="478"/>
          <ac:picMkLst>
            <pc:docMk/>
            <pc:sldMk cId="3652274477" sldId="2147478393"/>
            <ac:picMk id="3" creationId="{046000F2-C850-25D0-3785-5E47C2F2EC13}"/>
          </ac:picMkLst>
        </pc:picChg>
        <pc:picChg chg="del mod">
          <ac:chgData name="Maximilian Maier" userId="2dea75bf-1e61-418a-9a4e-3c96e4410998" providerId="ADAL" clId="{E5FA7755-4464-4339-8923-4731CE90646D}" dt="2023-12-04T09:39:16.661" v="2906" actId="478"/>
          <ac:picMkLst>
            <pc:docMk/>
            <pc:sldMk cId="3652274477" sldId="2147478393"/>
            <ac:picMk id="30" creationId="{D1F3FA7A-F141-5AE8-3DC8-EA765FA680BA}"/>
          </ac:picMkLst>
        </pc:picChg>
        <pc:picChg chg="del mod">
          <ac:chgData name="Maximilian Maier" userId="2dea75bf-1e61-418a-9a4e-3c96e4410998" providerId="ADAL" clId="{E5FA7755-4464-4339-8923-4731CE90646D}" dt="2023-12-04T09:40:58.802" v="2915" actId="478"/>
          <ac:picMkLst>
            <pc:docMk/>
            <pc:sldMk cId="3652274477" sldId="2147478393"/>
            <ac:picMk id="31" creationId="{46DF6A16-8D1F-52EF-52A5-5CC994F63CEE}"/>
          </ac:picMkLst>
        </pc:picChg>
        <pc:picChg chg="del">
          <ac:chgData name="Maximilian Maier" userId="2dea75bf-1e61-418a-9a4e-3c96e4410998" providerId="ADAL" clId="{E5FA7755-4464-4339-8923-4731CE90646D}" dt="2023-12-04T09:39:19.425" v="2907" actId="478"/>
          <ac:picMkLst>
            <pc:docMk/>
            <pc:sldMk cId="3652274477" sldId="2147478393"/>
            <ac:picMk id="32" creationId="{32383E7E-8B52-BB67-E5BA-97E12CA6C7F2}"/>
          </ac:picMkLst>
        </pc:picChg>
        <pc:picChg chg="del mod">
          <ac:chgData name="Maximilian Maier" userId="2dea75bf-1e61-418a-9a4e-3c96e4410998" providerId="ADAL" clId="{E5FA7755-4464-4339-8923-4731CE90646D}" dt="2023-12-04T09:41:02.213" v="2918" actId="478"/>
          <ac:picMkLst>
            <pc:docMk/>
            <pc:sldMk cId="3652274477" sldId="2147478393"/>
            <ac:picMk id="33" creationId="{BEACA846-06D5-5238-B834-397C7856C790}"/>
          </ac:picMkLst>
        </pc:picChg>
        <pc:picChg chg="add del mod">
          <ac:chgData name="Maximilian Maier" userId="2dea75bf-1e61-418a-9a4e-3c96e4410998" providerId="ADAL" clId="{E5FA7755-4464-4339-8923-4731CE90646D}" dt="2023-12-04T09:41:08.985" v="2922"/>
          <ac:picMkLst>
            <pc:docMk/>
            <pc:sldMk cId="3652274477" sldId="2147478393"/>
            <ac:picMk id="37" creationId="{00BB0C10-6FF3-F180-1B6E-3396577FA5C9}"/>
          </ac:picMkLst>
        </pc:picChg>
        <pc:picChg chg="add del mod">
          <ac:chgData name="Maximilian Maier" userId="2dea75bf-1e61-418a-9a4e-3c96e4410998" providerId="ADAL" clId="{E5FA7755-4464-4339-8923-4731CE90646D}" dt="2023-12-04T09:41:08.985" v="2922"/>
          <ac:picMkLst>
            <pc:docMk/>
            <pc:sldMk cId="3652274477" sldId="2147478393"/>
            <ac:picMk id="38" creationId="{A637723F-1831-A352-0C9C-2B2104A17378}"/>
          </ac:picMkLst>
        </pc:picChg>
        <pc:picChg chg="add del mod">
          <ac:chgData name="Maximilian Maier" userId="2dea75bf-1e61-418a-9a4e-3c96e4410998" providerId="ADAL" clId="{E5FA7755-4464-4339-8923-4731CE90646D}" dt="2023-12-04T09:41:08.985" v="2922"/>
          <ac:picMkLst>
            <pc:docMk/>
            <pc:sldMk cId="3652274477" sldId="2147478393"/>
            <ac:picMk id="39" creationId="{51B8EF74-1B63-A4F3-FAD8-C5DA41F8775C}"/>
          </ac:picMkLst>
        </pc:picChg>
        <pc:picChg chg="add mod">
          <ac:chgData name="Maximilian Maier" userId="2dea75bf-1e61-418a-9a4e-3c96e4410998" providerId="ADAL" clId="{E5FA7755-4464-4339-8923-4731CE90646D}" dt="2023-12-04T09:42:56.584" v="2945" actId="1076"/>
          <ac:picMkLst>
            <pc:docMk/>
            <pc:sldMk cId="3652274477" sldId="2147478393"/>
            <ac:picMk id="45" creationId="{951A6AF3-DF24-334D-6748-1D0AA2A55ABF}"/>
          </ac:picMkLst>
        </pc:picChg>
        <pc:picChg chg="add mod">
          <ac:chgData name="Maximilian Maier" userId="2dea75bf-1e61-418a-9a4e-3c96e4410998" providerId="ADAL" clId="{E5FA7755-4464-4339-8923-4731CE90646D}" dt="2023-12-04T09:42:56.584" v="2945" actId="1076"/>
          <ac:picMkLst>
            <pc:docMk/>
            <pc:sldMk cId="3652274477" sldId="2147478393"/>
            <ac:picMk id="51" creationId="{51979880-51E8-3F03-BCCC-45F4C55C5F05}"/>
          </ac:picMkLst>
        </pc:picChg>
        <pc:picChg chg="add mod">
          <ac:chgData name="Maximilian Maier" userId="2dea75bf-1e61-418a-9a4e-3c96e4410998" providerId="ADAL" clId="{E5FA7755-4464-4339-8923-4731CE90646D}" dt="2023-12-04T09:42:56.584" v="2945" actId="1076"/>
          <ac:picMkLst>
            <pc:docMk/>
            <pc:sldMk cId="3652274477" sldId="2147478393"/>
            <ac:picMk id="54" creationId="{8EB97B3C-0A51-6DCB-BB0B-124FB04E4850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55" creationId="{3EDF1FCE-AC7D-DE56-94C8-EF3C2A2DDB79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56" creationId="{A05C7180-A395-4F45-5C5E-DA4A60A7E0F3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57" creationId="{D8A0708C-A988-81A1-6C2C-8EF90A981DC3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58" creationId="{45365FCF-7D33-9D5D-02E1-6CC175642881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59" creationId="{850AA9A6-9034-DEAF-A5C8-B886E7017961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60" creationId="{036FFB60-360C-B005-7F81-6A1A4D9F5E77}"/>
          </ac:picMkLst>
        </pc:picChg>
        <pc:picChg chg="del mod">
          <ac:chgData name="Maximilian Maier" userId="2dea75bf-1e61-418a-9a4e-3c96e4410998" providerId="ADAL" clId="{E5FA7755-4464-4339-8923-4731CE90646D}" dt="2023-12-04T09:42:43.754" v="2927" actId="478"/>
          <ac:picMkLst>
            <pc:docMk/>
            <pc:sldMk cId="3652274477" sldId="2147478393"/>
            <ac:picMk id="66" creationId="{EADF5986-CE1E-0199-4773-C5AD6BCD4E9F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71" creationId="{BC730A9A-C388-8235-41A2-33BB4BA3E426}"/>
          </ac:picMkLst>
        </pc:picChg>
        <pc:picChg chg="mod">
          <ac:chgData name="Maximilian Maier" userId="2dea75bf-1e61-418a-9a4e-3c96e4410998" providerId="ADAL" clId="{E5FA7755-4464-4339-8923-4731CE90646D}" dt="2023-12-04T09:31:19.413" v="2870" actId="108"/>
          <ac:picMkLst>
            <pc:docMk/>
            <pc:sldMk cId="3652274477" sldId="2147478393"/>
            <ac:picMk id="72" creationId="{E9D16B43-9A46-73A3-1E2B-79EA45A3E15B}"/>
          </ac:picMkLst>
        </pc:picChg>
        <pc:picChg chg="add del mod">
          <ac:chgData name="Maximilian Maier" userId="2dea75bf-1e61-418a-9a4e-3c96e4410998" providerId="ADAL" clId="{E5FA7755-4464-4339-8923-4731CE90646D}" dt="2023-12-04T13:46:12.713" v="8133" actId="478"/>
          <ac:picMkLst>
            <pc:docMk/>
            <pc:sldMk cId="3652274477" sldId="2147478393"/>
            <ac:picMk id="80" creationId="{51E314E8-37D1-BB1E-52D7-7CC6024197D8}"/>
          </ac:picMkLst>
        </pc:picChg>
        <pc:picChg chg="add del mod">
          <ac:chgData name="Maximilian Maier" userId="2dea75bf-1e61-418a-9a4e-3c96e4410998" providerId="ADAL" clId="{E5FA7755-4464-4339-8923-4731CE90646D}" dt="2023-12-04T15:00:44.237" v="9153"/>
          <ac:picMkLst>
            <pc:docMk/>
            <pc:sldMk cId="3652274477" sldId="2147478393"/>
            <ac:picMk id="95" creationId="{F842CB39-2E4C-8626-48A1-E1830C78183D}"/>
          </ac:picMkLst>
        </pc:picChg>
        <pc:picChg chg="add del mod">
          <ac:chgData name="Maximilian Maier" userId="2dea75bf-1e61-418a-9a4e-3c96e4410998" providerId="ADAL" clId="{E5FA7755-4464-4339-8923-4731CE90646D}" dt="2023-12-04T15:00:44.237" v="9153"/>
          <ac:picMkLst>
            <pc:docMk/>
            <pc:sldMk cId="3652274477" sldId="2147478393"/>
            <ac:picMk id="96" creationId="{405AEFF1-0D1B-0A94-A961-AB831091FF37}"/>
          </ac:picMkLst>
        </pc:picChg>
        <pc:picChg chg="add del mod">
          <ac:chgData name="Maximilian Maier" userId="2dea75bf-1e61-418a-9a4e-3c96e4410998" providerId="ADAL" clId="{E5FA7755-4464-4339-8923-4731CE90646D}" dt="2023-12-04T15:00:44.237" v="9153"/>
          <ac:picMkLst>
            <pc:docMk/>
            <pc:sldMk cId="3652274477" sldId="2147478393"/>
            <ac:picMk id="97" creationId="{6630FAC2-BCD9-8B8D-D4C0-BF7A0A9F486C}"/>
          </ac:picMkLst>
        </pc:picChg>
        <pc:picChg chg="add del mod">
          <ac:chgData name="Maximilian Maier" userId="2dea75bf-1e61-418a-9a4e-3c96e4410998" providerId="ADAL" clId="{E5FA7755-4464-4339-8923-4731CE90646D}" dt="2023-12-04T15:00:44.237" v="9153"/>
          <ac:picMkLst>
            <pc:docMk/>
            <pc:sldMk cId="3652274477" sldId="2147478393"/>
            <ac:picMk id="98" creationId="{2F346337-3166-21D7-EB18-D52861135A72}"/>
          </ac:picMkLst>
        </pc:picChg>
        <pc:picChg chg="mod">
          <ac:chgData name="Maximilian Maier" userId="2dea75bf-1e61-418a-9a4e-3c96e4410998" providerId="ADAL" clId="{E5FA7755-4464-4339-8923-4731CE90646D}" dt="2023-12-05T09:00:47.767" v="9232" actId="1076"/>
          <ac:picMkLst>
            <pc:docMk/>
            <pc:sldMk cId="3652274477" sldId="2147478393"/>
            <ac:picMk id="122" creationId="{4192FDDC-54C5-F90E-F3C1-3E34E88548E9}"/>
          </ac:picMkLst>
        </pc:picChg>
      </pc:sldChg>
      <pc:sldChg chg="add del">
        <pc:chgData name="Maximilian Maier" userId="2dea75bf-1e61-418a-9a4e-3c96e4410998" providerId="ADAL" clId="{E5FA7755-4464-4339-8923-4731CE90646D}" dt="2023-12-04T11:47:33.471" v="6963" actId="47"/>
        <pc:sldMkLst>
          <pc:docMk/>
          <pc:sldMk cId="3196836418" sldId="214747839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13535067" sldId="214747839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57222367" sldId="214747839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431831409" sldId="214747840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272316711" sldId="214747840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536612806" sldId="214747840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86198127" sldId="2147478410"/>
        </pc:sldMkLst>
      </pc:sldChg>
      <pc:sldChg chg="modSp 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11366891" sldId="2147478421"/>
        </pc:sldMkLst>
        <pc:graphicFrameChg chg="mod">
          <ac:chgData name="Maximilian Maier" userId="2dea75bf-1e61-418a-9a4e-3c96e4410998" providerId="ADAL" clId="{E5FA7755-4464-4339-8923-4731CE90646D}" dt="2023-12-04T10:31:43.190" v="4739"/>
          <ac:graphicFrameMkLst>
            <pc:docMk/>
            <pc:sldMk cId="4211366891" sldId="2147478421"/>
            <ac:graphicFrameMk id="5" creationId="{335E1F4D-788D-BF73-DC8E-C46FB9095EA3}"/>
          </ac:graphicFrameMkLst>
        </pc:graphicFrameChg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778658190" sldId="2147478426"/>
        </pc:sldMkLst>
      </pc:sldChg>
      <pc:sldChg chg="del ord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426430291" sldId="2147478427"/>
        </pc:sldMkLst>
      </pc:sldChg>
      <pc:sldChg chg="del ord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87048323" sldId="2147478428"/>
        </pc:sldMkLst>
      </pc:sldChg>
      <pc:sldChg chg="del ord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197008391" sldId="214747842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851050397" sldId="214747843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70181236" sldId="214747843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97339604" sldId="214747843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25785390" sldId="214747843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190398089" sldId="214747843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644939867" sldId="214747843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882190119" sldId="214747843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400213647" sldId="214747843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921562151" sldId="214747843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641023864" sldId="214747843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741974156" sldId="214747844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529460788" sldId="214747844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475542061" sldId="214747844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372807688" sldId="214747844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233334476" sldId="214747844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463710627" sldId="214747844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25651279" sldId="214747844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60286545" sldId="214747844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774857982" sldId="214747844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670007204" sldId="214747844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540538583" sldId="214747845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80643844" sldId="214747845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498226447" sldId="214747845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208584370" sldId="214747846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359158317" sldId="214747846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46631115" sldId="214747846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020340875" sldId="214747846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109122656" sldId="214747846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916249592" sldId="214747846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080939701" sldId="214747846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945483867" sldId="214747846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66585251" sldId="214747846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373131803" sldId="214747846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311056568" sldId="214747847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454120596" sldId="214747847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02329793" sldId="214747847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097112131" sldId="214747847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34912722" sldId="214747847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579593399" sldId="214747847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71436039" sldId="214747847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794777404" sldId="214747847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03998349" sldId="214747847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963207829" sldId="214747847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711425204" sldId="214747848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80444640" sldId="214747848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75021267" sldId="214747848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467597413" sldId="214747848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49052105" sldId="214747848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01331218" sldId="214747848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43582840" sldId="214747848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536850809" sldId="214747848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113091793" sldId="214747848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902395622" sldId="214747849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208861755" sldId="214747849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074259112" sldId="214747849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979843800" sldId="214747849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12251516" sldId="214747849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585287745" sldId="214747850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006204527" sldId="214747850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401582" sldId="214747850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711061356" sldId="214747850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107141420" sldId="214747850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648571053" sldId="214747850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81641429" sldId="214747850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061486471" sldId="214747851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803795245" sldId="214747851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238786644" sldId="214747851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616674147" sldId="214747851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32908487" sldId="214747851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927315773" sldId="214747851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4062787114" sldId="214747851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415995099" sldId="2147478520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958651929" sldId="214747852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38099483" sldId="214747852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911084641" sldId="214747852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625551472" sldId="214747852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100581920" sldId="2147478525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391899639" sldId="2147478526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777627160" sldId="2147478527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811959299" sldId="2147478528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24101279" sldId="2147478529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3961578698" sldId="2147478531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598864822" sldId="2147478532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81781178" sldId="2147478533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2892509462" sldId="2147478534"/>
        </pc:sldMkLst>
      </pc:sldChg>
      <pc:sldChg chg="del">
        <pc:chgData name="Maximilian Maier" userId="2dea75bf-1e61-418a-9a4e-3c96e4410998" providerId="ADAL" clId="{E5FA7755-4464-4339-8923-4731CE90646D}" dt="2023-12-04T14:45:37.447" v="8450" actId="2696"/>
        <pc:sldMkLst>
          <pc:docMk/>
          <pc:sldMk cId="1971603120" sldId="2147478535"/>
        </pc:sldMkLst>
      </pc:sldChg>
      <pc:sldChg chg="addSp delSp modSp new mod ord modClrScheme chgLayout">
        <pc:chgData name="Maximilian Maier" userId="2dea75bf-1e61-418a-9a4e-3c96e4410998" providerId="ADAL" clId="{E5FA7755-4464-4339-8923-4731CE90646D}" dt="2023-11-30T10:16:56.794" v="74" actId="700"/>
        <pc:sldMkLst>
          <pc:docMk/>
          <pc:sldMk cId="1020051776" sldId="2147478536"/>
        </pc:sldMkLst>
        <pc:spChg chg="mod ord">
          <ac:chgData name="Maximilian Maier" userId="2dea75bf-1e61-418a-9a4e-3c96e4410998" providerId="ADAL" clId="{E5FA7755-4464-4339-8923-4731CE90646D}" dt="2023-11-30T10:16:56.794" v="74" actId="700"/>
          <ac:spMkLst>
            <pc:docMk/>
            <pc:sldMk cId="1020051776" sldId="2147478536"/>
            <ac:spMk id="2" creationId="{4928042E-11A8-4125-F5FB-89CBF903B5CE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3" creationId="{BFD16BC0-71E8-C073-B66D-E04C56026A5E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4" creationId="{FE23BF58-3184-CBE4-13FB-0270808ABFF9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5" creationId="{7E664ACE-805B-AAD1-4581-995856642613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6" creationId="{E9557CEC-3E05-EE9C-4B12-4C0A52DA5BE3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7" creationId="{EB50F497-26B6-4C8C-013D-7E82D4A39DBB}"/>
          </ac:spMkLst>
        </pc:spChg>
        <pc:spChg chg="del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8" creationId="{237DD703-E73B-84C6-BE38-BAFA201D1F39}"/>
          </ac:spMkLst>
        </pc:spChg>
        <pc:spChg chg="add del mod">
          <ac:chgData name="Maximilian Maier" userId="2dea75bf-1e61-418a-9a4e-3c96e4410998" providerId="ADAL" clId="{E5FA7755-4464-4339-8923-4731CE90646D}" dt="2023-11-30T09:59:33.159" v="3"/>
          <ac:spMkLst>
            <pc:docMk/>
            <pc:sldMk cId="1020051776" sldId="2147478536"/>
            <ac:spMk id="9" creationId="{EE173D71-9B8F-8C72-5763-E2822BA9DC10}"/>
          </ac:spMkLst>
        </pc:spChg>
        <pc:spChg chg="add mod ord">
          <ac:chgData name="Maximilian Maier" userId="2dea75bf-1e61-418a-9a4e-3c96e4410998" providerId="ADAL" clId="{E5FA7755-4464-4339-8923-4731CE90646D}" dt="2023-11-30T10:16:56.794" v="74" actId="700"/>
          <ac:spMkLst>
            <pc:docMk/>
            <pc:sldMk cId="1020051776" sldId="2147478536"/>
            <ac:spMk id="10" creationId="{B5312A82-7A9F-F132-B8A5-FCD34FE55BC0}"/>
          </ac:spMkLst>
        </pc:spChg>
        <pc:spChg chg="add mod ord">
          <ac:chgData name="Maximilian Maier" userId="2dea75bf-1e61-418a-9a4e-3c96e4410998" providerId="ADAL" clId="{E5FA7755-4464-4339-8923-4731CE90646D}" dt="2023-11-30T10:16:56.794" v="74" actId="700"/>
          <ac:spMkLst>
            <pc:docMk/>
            <pc:sldMk cId="1020051776" sldId="2147478536"/>
            <ac:spMk id="11" creationId="{F2762CF8-0ECD-FFF6-D7C7-19802896EC90}"/>
          </ac:spMkLst>
        </pc:spChg>
        <pc:spChg chg="add mod ord">
          <ac:chgData name="Maximilian Maier" userId="2dea75bf-1e61-418a-9a4e-3c96e4410998" providerId="ADAL" clId="{E5FA7755-4464-4339-8923-4731CE90646D}" dt="2023-11-30T10:16:56.794" v="74" actId="700"/>
          <ac:spMkLst>
            <pc:docMk/>
            <pc:sldMk cId="1020051776" sldId="2147478536"/>
            <ac:spMk id="12" creationId="{541C9DD8-CD5B-43AC-44B1-D840DC3E5331}"/>
          </ac:spMkLst>
        </pc:spChg>
        <pc:spChg chg="add del mod">
          <ac:chgData name="Maximilian Maier" userId="2dea75bf-1e61-418a-9a4e-3c96e4410998" providerId="ADAL" clId="{E5FA7755-4464-4339-8923-4731CE90646D}" dt="2023-11-30T10:00:15.441" v="52"/>
          <ac:spMkLst>
            <pc:docMk/>
            <pc:sldMk cId="1020051776" sldId="2147478536"/>
            <ac:spMk id="13" creationId="{94D13DCF-8F76-1076-7CF3-1FE039C2A64F}"/>
          </ac:spMkLst>
        </pc:spChg>
        <pc:spChg chg="add del mod">
          <ac:chgData name="Maximilian Maier" userId="2dea75bf-1e61-418a-9a4e-3c96e4410998" providerId="ADAL" clId="{E5FA7755-4464-4339-8923-4731CE90646D}" dt="2023-11-30T10:00:21.592" v="56" actId="478"/>
          <ac:spMkLst>
            <pc:docMk/>
            <pc:sldMk cId="1020051776" sldId="2147478536"/>
            <ac:spMk id="14" creationId="{CA2AB1CC-5BE9-CE4C-3357-B8D973AF2F0E}"/>
          </ac:spMkLst>
        </pc:spChg>
        <pc:spChg chg="add del mod">
          <ac:chgData name="Maximilian Maier" userId="2dea75bf-1e61-418a-9a4e-3c96e4410998" providerId="ADAL" clId="{E5FA7755-4464-4339-8923-4731CE90646D}" dt="2023-11-30T10:00:20.279" v="55" actId="478"/>
          <ac:spMkLst>
            <pc:docMk/>
            <pc:sldMk cId="1020051776" sldId="2147478536"/>
            <ac:spMk id="15" creationId="{7A0FD2E1-03FD-4B79-C541-FF108B3AF53A}"/>
          </ac:spMkLst>
        </pc:spChg>
        <pc:picChg chg="add del mod">
          <ac:chgData name="Maximilian Maier" userId="2dea75bf-1e61-418a-9a4e-3c96e4410998" providerId="ADAL" clId="{E5FA7755-4464-4339-8923-4731CE90646D}" dt="2023-11-30T10:00:13.432" v="51"/>
          <ac:picMkLst>
            <pc:docMk/>
            <pc:sldMk cId="1020051776" sldId="2147478536"/>
            <ac:picMk id="17" creationId="{A0AA93E0-4C12-AB7D-EA2A-3EE1B9A67CF3}"/>
          </ac:picMkLst>
        </pc:picChg>
        <pc:picChg chg="add del mod">
          <ac:chgData name="Maximilian Maier" userId="2dea75bf-1e61-418a-9a4e-3c96e4410998" providerId="ADAL" clId="{E5FA7755-4464-4339-8923-4731CE90646D}" dt="2023-11-30T10:00:12.503" v="49"/>
          <ac:picMkLst>
            <pc:docMk/>
            <pc:sldMk cId="1020051776" sldId="2147478536"/>
            <ac:picMk id="19" creationId="{61B0FFEF-0DD7-6566-01C5-EF6A3F378D4A}"/>
          </ac:picMkLst>
        </pc:picChg>
        <pc:picChg chg="add mod ord">
          <ac:chgData name="Maximilian Maier" userId="2dea75bf-1e61-418a-9a4e-3c96e4410998" providerId="ADAL" clId="{E5FA7755-4464-4339-8923-4731CE90646D}" dt="2023-11-30T10:16:56.794" v="74" actId="700"/>
          <ac:picMkLst>
            <pc:docMk/>
            <pc:sldMk cId="1020051776" sldId="2147478536"/>
            <ac:picMk id="21" creationId="{EFD7B8FC-B6B1-764B-1D64-5E4EC0A54B25}"/>
          </ac:picMkLst>
        </pc:picChg>
      </pc:sldChg>
      <pc:sldChg chg="addSp delSp modSp add mod modClrScheme chgLayout">
        <pc:chgData name="Maximilian Maier" userId="2dea75bf-1e61-418a-9a4e-3c96e4410998" providerId="ADAL" clId="{E5FA7755-4464-4339-8923-4731CE90646D}" dt="2023-12-05T14:36:37.230" v="9568" actId="478"/>
        <pc:sldMkLst>
          <pc:docMk/>
          <pc:sldMk cId="935086838" sldId="2147478834"/>
        </pc:sldMkLst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2" creationId="{6600D81F-2FA1-4ECE-A48F-560508F653DA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3" creationId="{9BCA6527-80D9-466C-9B7A-D34CA1130D32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4" creationId="{511920B6-4196-4100-AA0C-7799C5DA687C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5" creationId="{50BA6390-A594-4B2F-BE14-BF4572732314}"/>
          </ac:spMkLst>
        </pc:spChg>
        <pc:spChg chg="del">
          <ac:chgData name="Maximilian Maier" userId="2dea75bf-1e61-418a-9a4e-3c96e4410998" providerId="ADAL" clId="{E5FA7755-4464-4339-8923-4731CE90646D}" dt="2023-12-05T14:28:47.430" v="9497" actId="478"/>
          <ac:spMkLst>
            <pc:docMk/>
            <pc:sldMk cId="935086838" sldId="2147478834"/>
            <ac:spMk id="6" creationId="{121044B5-C7BE-46F1-8DB7-F47EB7B1ECDE}"/>
          </ac:spMkLst>
        </pc:spChg>
        <pc:spChg chg="del">
          <ac:chgData name="Maximilian Maier" userId="2dea75bf-1e61-418a-9a4e-3c96e4410998" providerId="ADAL" clId="{E5FA7755-4464-4339-8923-4731CE90646D}" dt="2023-12-05T14:28:46.976" v="9496" actId="478"/>
          <ac:spMkLst>
            <pc:docMk/>
            <pc:sldMk cId="935086838" sldId="2147478834"/>
            <ac:spMk id="7" creationId="{5C334FF9-986A-4734-A99C-DBD3B33183AE}"/>
          </ac:spMkLst>
        </pc:spChg>
        <pc:spChg chg="add del mod ord">
          <ac:chgData name="Maximilian Maier" userId="2dea75bf-1e61-418a-9a4e-3c96e4410998" providerId="ADAL" clId="{E5FA7755-4464-4339-8923-4731CE90646D}" dt="2023-12-05T14:28:35.043" v="9492" actId="700"/>
          <ac:spMkLst>
            <pc:docMk/>
            <pc:sldMk cId="935086838" sldId="2147478834"/>
            <ac:spMk id="20" creationId="{FAEB7824-E782-49AD-F304-8C540D96E454}"/>
          </ac:spMkLst>
        </pc:spChg>
        <pc:spChg chg="add del mod ord">
          <ac:chgData name="Maximilian Maier" userId="2dea75bf-1e61-418a-9a4e-3c96e4410998" providerId="ADAL" clId="{E5FA7755-4464-4339-8923-4731CE90646D}" dt="2023-12-05T14:28:35.043" v="9492" actId="700"/>
          <ac:spMkLst>
            <pc:docMk/>
            <pc:sldMk cId="935086838" sldId="2147478834"/>
            <ac:spMk id="21" creationId="{6B5D2447-7C24-8404-7BEB-1F667C4FCB97}"/>
          </ac:spMkLst>
        </pc:spChg>
        <pc:spChg chg="mod or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25" creationId="{3710C217-7EBC-4B6B-BDEF-0656858A3298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32" creationId="{DE09415A-3E47-4915-AAE5-98E7A7E4ADF9}"/>
          </ac:spMkLst>
        </pc:spChg>
        <pc:spChg chg="add del mod ord">
          <ac:chgData name="Maximilian Maier" userId="2dea75bf-1e61-418a-9a4e-3c96e4410998" providerId="ADAL" clId="{E5FA7755-4464-4339-8923-4731CE90646D}" dt="2023-12-05T14:30:41.023" v="9540" actId="700"/>
          <ac:spMkLst>
            <pc:docMk/>
            <pc:sldMk cId="935086838" sldId="2147478834"/>
            <ac:spMk id="33" creationId="{E3019E3D-EFCB-7CE4-3E17-B30E6A53CDC3}"/>
          </ac:spMkLst>
        </pc:spChg>
        <pc:spChg chg="add del mod ord">
          <ac:chgData name="Maximilian Maier" userId="2dea75bf-1e61-418a-9a4e-3c96e4410998" providerId="ADAL" clId="{E5FA7755-4464-4339-8923-4731CE90646D}" dt="2023-12-05T14:30:41.023" v="9540" actId="700"/>
          <ac:spMkLst>
            <pc:docMk/>
            <pc:sldMk cId="935086838" sldId="2147478834"/>
            <ac:spMk id="35" creationId="{4A209ED5-7D45-5B8D-F0DF-059B215BE47D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38" creationId="{D4EDFE68-588C-494B-9F56-6C82EAAB6304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40" creationId="{690984BE-1322-4932-B588-CCCE02D6D1F1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42" creationId="{14B97DA0-B78D-4DAA-8ACE-E0B7C7EF5847}"/>
          </ac:spMkLst>
        </pc:spChg>
        <pc:spChg chg="add del mod ord">
          <ac:chgData name="Maximilian Maier" userId="2dea75bf-1e61-418a-9a4e-3c96e4410998" providerId="ADAL" clId="{E5FA7755-4464-4339-8923-4731CE90646D}" dt="2023-12-05T14:32:16.063" v="9551" actId="478"/>
          <ac:spMkLst>
            <pc:docMk/>
            <pc:sldMk cId="935086838" sldId="2147478834"/>
            <ac:spMk id="43" creationId="{B3A77DD0-C211-F007-72B8-594C1BB34AA1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45" creationId="{ED571E7C-2D9D-4A03-BB76-5A76F81F965F}"/>
          </ac:spMkLst>
        </pc:spChg>
        <pc:spChg chg="add del mod ord">
          <ac:chgData name="Maximilian Maier" userId="2dea75bf-1e61-418a-9a4e-3c96e4410998" providerId="ADAL" clId="{E5FA7755-4464-4339-8923-4731CE90646D}" dt="2023-12-05T14:31:19.133" v="9547" actId="478"/>
          <ac:spMkLst>
            <pc:docMk/>
            <pc:sldMk cId="935086838" sldId="2147478834"/>
            <ac:spMk id="46" creationId="{E807C313-F219-C392-BF1B-0C88CF210329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52" creationId="{68328FD9-4D1F-4BE4-83AB-B5375FF406FD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60" creationId="{FB728BB5-6046-46F4-B287-FB21C8A3C913}"/>
          </ac:spMkLst>
        </pc:spChg>
        <pc:spChg chg="mod">
          <ac:chgData name="Maximilian Maier" userId="2dea75bf-1e61-418a-9a4e-3c96e4410998" providerId="ADAL" clId="{E5FA7755-4464-4339-8923-4731CE90646D}" dt="2023-12-05T14:32:29.789" v="9552" actId="207"/>
          <ac:spMkLst>
            <pc:docMk/>
            <pc:sldMk cId="935086838" sldId="2147478834"/>
            <ac:spMk id="144" creationId="{EEBFEA0B-9BE1-8C69-5131-873124B91AF2}"/>
          </ac:spMkLst>
        </pc:spChg>
        <pc:grpChg chg="del">
          <ac:chgData name="Maximilian Maier" userId="2dea75bf-1e61-418a-9a4e-3c96e4410998" providerId="ADAL" clId="{E5FA7755-4464-4339-8923-4731CE90646D}" dt="2023-12-05T14:28:43.806" v="9493" actId="478"/>
          <ac:grpSpMkLst>
            <pc:docMk/>
            <pc:sldMk cId="935086838" sldId="2147478834"/>
            <ac:grpSpMk id="8" creationId="{0754620E-8052-4367-B97F-DDB965EB1F8D}"/>
          </ac:grpSpMkLst>
        </pc:grpChg>
        <pc:grpChg chg="del">
          <ac:chgData name="Maximilian Maier" userId="2dea75bf-1e61-418a-9a4e-3c96e4410998" providerId="ADAL" clId="{E5FA7755-4464-4339-8923-4731CE90646D}" dt="2023-12-05T14:28:44.072" v="9494" actId="478"/>
          <ac:grpSpMkLst>
            <pc:docMk/>
            <pc:sldMk cId="935086838" sldId="2147478834"/>
            <ac:grpSpMk id="14" creationId="{7D254042-A511-4D10-BFAC-2BDE2AA461F5}"/>
          </ac:grpSpMkLst>
        </pc:grpChg>
        <pc:grpChg chg="add mod">
          <ac:chgData name="Maximilian Maier" userId="2dea75bf-1e61-418a-9a4e-3c96e4410998" providerId="ADAL" clId="{E5FA7755-4464-4339-8923-4731CE90646D}" dt="2023-12-05T14:28:50.145" v="9498" actId="1076"/>
          <ac:grpSpMkLst>
            <pc:docMk/>
            <pc:sldMk cId="935086838" sldId="2147478834"/>
            <ac:grpSpMk id="22" creationId="{A652AB96-F33E-53BC-B8F4-A1BF6E217DD2}"/>
          </ac:grpSpMkLst>
        </pc:grpChg>
        <pc:grpChg chg="add mod">
          <ac:chgData name="Maximilian Maier" userId="2dea75bf-1e61-418a-9a4e-3c96e4410998" providerId="ADAL" clId="{E5FA7755-4464-4339-8923-4731CE90646D}" dt="2023-12-05T14:31:14.909" v="9546" actId="1076"/>
          <ac:grpSpMkLst>
            <pc:docMk/>
            <pc:sldMk cId="935086838" sldId="2147478834"/>
            <ac:grpSpMk id="47" creationId="{E25A6B9F-A626-B059-692F-9AF516CE4938}"/>
          </ac:grpSpMkLst>
        </pc:grpChg>
        <pc:grpChg chg="del mod">
          <ac:chgData name="Maximilian Maier" userId="2dea75bf-1e61-418a-9a4e-3c96e4410998" providerId="ADAL" clId="{E5FA7755-4464-4339-8923-4731CE90646D}" dt="2023-12-05T14:31:19.872" v="9548" actId="478"/>
          <ac:grpSpMkLst>
            <pc:docMk/>
            <pc:sldMk cId="935086838" sldId="2147478834"/>
            <ac:grpSpMk id="76" creationId="{9758109D-246D-4536-ADF5-719D57F010C5}"/>
          </ac:grpSpMkLst>
        </pc:grpChg>
        <pc:picChg chg="mod">
          <ac:chgData name="Maximilian Maier" userId="2dea75bf-1e61-418a-9a4e-3c96e4410998" providerId="ADAL" clId="{E5FA7755-4464-4339-8923-4731CE90646D}" dt="2023-12-05T14:28:45.924" v="9495"/>
          <ac:picMkLst>
            <pc:docMk/>
            <pc:sldMk cId="935086838" sldId="2147478834"/>
            <ac:picMk id="23" creationId="{9EC4CA3E-14C3-BD1E-8B91-5F7009DB3F49}"/>
          </ac:picMkLst>
        </pc:picChg>
        <pc:picChg chg="mod">
          <ac:chgData name="Maximilian Maier" userId="2dea75bf-1e61-418a-9a4e-3c96e4410998" providerId="ADAL" clId="{E5FA7755-4464-4339-8923-4731CE90646D}" dt="2023-12-05T14:28:45.924" v="9495"/>
          <ac:picMkLst>
            <pc:docMk/>
            <pc:sldMk cId="935086838" sldId="2147478834"/>
            <ac:picMk id="24" creationId="{073B01F4-ED5C-9A58-2AE4-44F86DC30E50}"/>
          </ac:picMkLst>
        </pc:picChg>
        <pc:picChg chg="add mod">
          <ac:chgData name="Maximilian Maier" userId="2dea75bf-1e61-418a-9a4e-3c96e4410998" providerId="ADAL" clId="{E5FA7755-4464-4339-8923-4731CE90646D}" dt="2023-12-05T14:29:03.777" v="9503" actId="1076"/>
          <ac:picMkLst>
            <pc:docMk/>
            <pc:sldMk cId="935086838" sldId="2147478834"/>
            <ac:picMk id="26" creationId="{60DB29B8-497F-7DE9-CDF3-70763284B7BF}"/>
          </ac:picMkLst>
        </pc:picChg>
        <pc:picChg chg="add mod">
          <ac:chgData name="Maximilian Maier" userId="2dea75bf-1e61-418a-9a4e-3c96e4410998" providerId="ADAL" clId="{E5FA7755-4464-4339-8923-4731CE90646D}" dt="2023-12-05T14:29:47.659" v="9527" actId="1038"/>
          <ac:picMkLst>
            <pc:docMk/>
            <pc:sldMk cId="935086838" sldId="2147478834"/>
            <ac:picMk id="27" creationId="{75EC5524-25CC-A4EC-887F-1EB355466F14}"/>
          </ac:picMkLst>
        </pc:picChg>
        <pc:picChg chg="add mod">
          <ac:chgData name="Maximilian Maier" userId="2dea75bf-1e61-418a-9a4e-3c96e4410998" providerId="ADAL" clId="{E5FA7755-4464-4339-8923-4731CE90646D}" dt="2023-12-05T14:30:17.622" v="9534" actId="1076"/>
          <ac:picMkLst>
            <pc:docMk/>
            <pc:sldMk cId="935086838" sldId="2147478834"/>
            <ac:picMk id="29" creationId="{4F73423B-70FE-768E-DCB5-5CE519C00E51}"/>
          </ac:picMkLst>
        </pc:picChg>
        <pc:picChg chg="add del mod">
          <ac:chgData name="Maximilian Maier" userId="2dea75bf-1e61-418a-9a4e-3c96e4410998" providerId="ADAL" clId="{E5FA7755-4464-4339-8923-4731CE90646D}" dt="2023-12-05T14:31:11.390" v="9544" actId="478"/>
          <ac:picMkLst>
            <pc:docMk/>
            <pc:sldMk cId="935086838" sldId="2147478834"/>
            <ac:picMk id="30" creationId="{4C670378-8AF0-CD3A-BEB3-1C735313E7D7}"/>
          </ac:picMkLst>
        </pc:picChg>
        <pc:picChg chg="del mod">
          <ac:chgData name="Maximilian Maier" userId="2dea75bf-1e61-418a-9a4e-3c96e4410998" providerId="ADAL" clId="{E5FA7755-4464-4339-8923-4731CE90646D}" dt="2023-12-05T14:36:09.890" v="9566" actId="478"/>
          <ac:picMkLst>
            <pc:docMk/>
            <pc:sldMk cId="935086838" sldId="2147478834"/>
            <ac:picMk id="31" creationId="{2E889191-2319-939F-F0B0-C6F2732ADC08}"/>
          </ac:picMkLst>
        </pc:picChg>
        <pc:picChg chg="del">
          <ac:chgData name="Maximilian Maier" userId="2dea75bf-1e61-418a-9a4e-3c96e4410998" providerId="ADAL" clId="{E5FA7755-4464-4339-8923-4731CE90646D}" dt="2023-12-05T14:28:53.631" v="9499" actId="478"/>
          <ac:picMkLst>
            <pc:docMk/>
            <pc:sldMk cId="935086838" sldId="2147478834"/>
            <ac:picMk id="36" creationId="{B85CC2BB-8022-4F15-9B5A-6C00A2FDF77E}"/>
          </ac:picMkLst>
        </pc:picChg>
        <pc:picChg chg="del">
          <ac:chgData name="Maximilian Maier" userId="2dea75bf-1e61-418a-9a4e-3c96e4410998" providerId="ADAL" clId="{E5FA7755-4464-4339-8923-4731CE90646D}" dt="2023-12-05T14:33:33.752" v="9559" actId="478"/>
          <ac:picMkLst>
            <pc:docMk/>
            <pc:sldMk cId="935086838" sldId="2147478834"/>
            <ac:picMk id="37" creationId="{C92163D3-11EE-4DE6-9647-E53581F41C20}"/>
          </ac:picMkLst>
        </pc:picChg>
        <pc:picChg chg="del">
          <ac:chgData name="Maximilian Maier" userId="2dea75bf-1e61-418a-9a4e-3c96e4410998" providerId="ADAL" clId="{E5FA7755-4464-4339-8923-4731CE90646D}" dt="2023-12-05T14:30:12.537" v="9532" actId="478"/>
          <ac:picMkLst>
            <pc:docMk/>
            <pc:sldMk cId="935086838" sldId="2147478834"/>
            <ac:picMk id="41" creationId="{A9FD97E5-5844-41BA-AF66-86674EEC1FF4}"/>
          </ac:picMkLst>
        </pc:picChg>
        <pc:picChg chg="del">
          <ac:chgData name="Maximilian Maier" userId="2dea75bf-1e61-418a-9a4e-3c96e4410998" providerId="ADAL" clId="{E5FA7755-4464-4339-8923-4731CE90646D}" dt="2023-12-05T14:29:10.013" v="9504" actId="478"/>
          <ac:picMkLst>
            <pc:docMk/>
            <pc:sldMk cId="935086838" sldId="2147478834"/>
            <ac:picMk id="48" creationId="{C67CB746-574B-4543-BC94-ADE0715D290F}"/>
          </ac:picMkLst>
        </pc:picChg>
        <pc:picChg chg="mod">
          <ac:chgData name="Maximilian Maier" userId="2dea75bf-1e61-418a-9a4e-3c96e4410998" providerId="ADAL" clId="{E5FA7755-4464-4339-8923-4731CE90646D}" dt="2023-12-05T14:31:12.192" v="9545"/>
          <ac:picMkLst>
            <pc:docMk/>
            <pc:sldMk cId="935086838" sldId="2147478834"/>
            <ac:picMk id="50" creationId="{D76F4AF9-8ADD-3250-B262-86B84060598B}"/>
          </ac:picMkLst>
        </pc:picChg>
        <pc:picChg chg="mod">
          <ac:chgData name="Maximilian Maier" userId="2dea75bf-1e61-418a-9a4e-3c96e4410998" providerId="ADAL" clId="{E5FA7755-4464-4339-8923-4731CE90646D}" dt="2023-12-05T14:31:12.192" v="9545"/>
          <ac:picMkLst>
            <pc:docMk/>
            <pc:sldMk cId="935086838" sldId="2147478834"/>
            <ac:picMk id="56" creationId="{1AA56D2B-E5BD-1F64-BD7B-0569E2A82379}"/>
          </ac:picMkLst>
        </pc:picChg>
        <pc:picChg chg="mod">
          <ac:chgData name="Maximilian Maier" userId="2dea75bf-1e61-418a-9a4e-3c96e4410998" providerId="ADAL" clId="{E5FA7755-4464-4339-8923-4731CE90646D}" dt="2023-12-05T14:31:12.192" v="9545"/>
          <ac:picMkLst>
            <pc:docMk/>
            <pc:sldMk cId="935086838" sldId="2147478834"/>
            <ac:picMk id="57" creationId="{7201EB8F-BCA8-C85D-A154-A858806CEA13}"/>
          </ac:picMkLst>
        </pc:picChg>
        <pc:picChg chg="del mod">
          <ac:chgData name="Maximilian Maier" userId="2dea75bf-1e61-418a-9a4e-3c96e4410998" providerId="ADAL" clId="{E5FA7755-4464-4339-8923-4731CE90646D}" dt="2023-12-05T14:36:37.230" v="9568" actId="478"/>
          <ac:picMkLst>
            <pc:docMk/>
            <pc:sldMk cId="935086838" sldId="2147478834"/>
            <ac:picMk id="58" creationId="{43D6C442-145E-A468-5A6B-1ED402ED33E7}"/>
          </ac:picMkLst>
        </pc:picChg>
        <pc:picChg chg="add mod">
          <ac:chgData name="Maximilian Maier" userId="2dea75bf-1e61-418a-9a4e-3c96e4410998" providerId="ADAL" clId="{E5FA7755-4464-4339-8923-4731CE90646D}" dt="2023-12-05T14:31:14.909" v="9546" actId="1076"/>
          <ac:picMkLst>
            <pc:docMk/>
            <pc:sldMk cId="935086838" sldId="2147478834"/>
            <ac:picMk id="59" creationId="{E3349A8C-C920-92F9-8947-F8E196A2AFFB}"/>
          </ac:picMkLst>
        </pc:picChg>
        <pc:picChg chg="add mod">
          <ac:chgData name="Maximilian Maier" userId="2dea75bf-1e61-418a-9a4e-3c96e4410998" providerId="ADAL" clId="{E5FA7755-4464-4339-8923-4731CE90646D}" dt="2023-12-05T14:31:14.909" v="9546" actId="1076"/>
          <ac:picMkLst>
            <pc:docMk/>
            <pc:sldMk cId="935086838" sldId="2147478834"/>
            <ac:picMk id="61" creationId="{E8160978-EE15-1697-F7E6-893634BE7A04}"/>
          </ac:picMkLst>
        </pc:picChg>
        <pc:picChg chg="add mod">
          <ac:chgData name="Maximilian Maier" userId="2dea75bf-1e61-418a-9a4e-3c96e4410998" providerId="ADAL" clId="{E5FA7755-4464-4339-8923-4731CE90646D}" dt="2023-12-05T14:31:14.909" v="9546" actId="1076"/>
          <ac:picMkLst>
            <pc:docMk/>
            <pc:sldMk cId="935086838" sldId="2147478834"/>
            <ac:picMk id="62" creationId="{12EA553F-AA73-1855-CB41-F1E8BCC8A82B}"/>
          </ac:picMkLst>
        </pc:picChg>
        <pc:picChg chg="add del mod">
          <ac:chgData name="Maximilian Maier" userId="2dea75bf-1e61-418a-9a4e-3c96e4410998" providerId="ADAL" clId="{E5FA7755-4464-4339-8923-4731CE90646D}" dt="2023-12-05T14:32:49.424" v="9556" actId="478"/>
          <ac:picMkLst>
            <pc:docMk/>
            <pc:sldMk cId="935086838" sldId="2147478834"/>
            <ac:picMk id="63" creationId="{0298FA1B-10BB-5578-E51F-AC9542863A7B}"/>
          </ac:picMkLst>
        </pc:picChg>
        <pc:picChg chg="add del mod">
          <ac:chgData name="Maximilian Maier" userId="2dea75bf-1e61-418a-9a4e-3c96e4410998" providerId="ADAL" clId="{E5FA7755-4464-4339-8923-4731CE90646D}" dt="2023-12-05T14:35:30.877" v="9563" actId="478"/>
          <ac:picMkLst>
            <pc:docMk/>
            <pc:sldMk cId="935086838" sldId="2147478834"/>
            <ac:picMk id="64" creationId="{1829C308-8DE5-FE8E-2073-4AEFF41301BF}"/>
          </ac:picMkLst>
        </pc:picChg>
        <pc:picChg chg="add mod">
          <ac:chgData name="Maximilian Maier" userId="2dea75bf-1e61-418a-9a4e-3c96e4410998" providerId="ADAL" clId="{E5FA7755-4464-4339-8923-4731CE90646D}" dt="2023-12-05T14:33:38.166" v="9561" actId="1076"/>
          <ac:picMkLst>
            <pc:docMk/>
            <pc:sldMk cId="935086838" sldId="2147478834"/>
            <ac:picMk id="65" creationId="{9E55ABB9-4C3B-F0B4-1982-D1A034BDB148}"/>
          </ac:picMkLst>
        </pc:picChg>
        <pc:picChg chg="add mod">
          <ac:chgData name="Maximilian Maier" userId="2dea75bf-1e61-418a-9a4e-3c96e4410998" providerId="ADAL" clId="{E5FA7755-4464-4339-8923-4731CE90646D}" dt="2023-12-05T14:35:33.107" v="9564" actId="1076"/>
          <ac:picMkLst>
            <pc:docMk/>
            <pc:sldMk cId="935086838" sldId="2147478834"/>
            <ac:picMk id="67" creationId="{BAF2A98F-F43F-34D2-1F5D-366A42312FFE}"/>
          </ac:picMkLst>
        </pc:picChg>
        <pc:picChg chg="add mod">
          <ac:chgData name="Maximilian Maier" userId="2dea75bf-1e61-418a-9a4e-3c96e4410998" providerId="ADAL" clId="{E5FA7755-4464-4339-8923-4731CE90646D}" dt="2023-12-05T14:36:12.278" v="9567" actId="1076"/>
          <ac:picMkLst>
            <pc:docMk/>
            <pc:sldMk cId="935086838" sldId="2147478834"/>
            <ac:picMk id="69" creationId="{EAB8566E-AE91-B4B7-5475-F84FF8935F9D}"/>
          </ac:picMkLst>
        </pc:picChg>
        <pc:picChg chg="del mod">
          <ac:chgData name="Maximilian Maier" userId="2dea75bf-1e61-418a-9a4e-3c96e4410998" providerId="ADAL" clId="{E5FA7755-4464-4339-8923-4731CE90646D}" dt="2023-12-05T14:30:28.395" v="9536" actId="478"/>
          <ac:picMkLst>
            <pc:docMk/>
            <pc:sldMk cId="935086838" sldId="2147478834"/>
            <ac:picMk id="136" creationId="{5D9B9FB2-90B0-E643-5E4E-A917FF6878EA}"/>
          </ac:picMkLst>
        </pc:picChg>
        <pc:picChg chg="del">
          <ac:chgData name="Maximilian Maier" userId="2dea75bf-1e61-418a-9a4e-3c96e4410998" providerId="ADAL" clId="{E5FA7755-4464-4339-8923-4731CE90646D}" dt="2023-12-05T14:32:43.695" v="9553" actId="478"/>
          <ac:picMkLst>
            <pc:docMk/>
            <pc:sldMk cId="935086838" sldId="2147478834"/>
            <ac:picMk id="140" creationId="{4C1CDDE1-35D3-00E5-D653-4890D05C3C87}"/>
          </ac:picMkLst>
        </pc:picChg>
        <pc:cxnChg chg="mod">
          <ac:chgData name="Maximilian Maier" userId="2dea75bf-1e61-418a-9a4e-3c96e4410998" providerId="ADAL" clId="{E5FA7755-4464-4339-8923-4731CE90646D}" dt="2023-12-05T14:29:35.253" v="9519" actId="14100"/>
          <ac:cxnSpMkLst>
            <pc:docMk/>
            <pc:sldMk cId="935086838" sldId="2147478834"/>
            <ac:cxnSpMk id="39" creationId="{DF070333-F392-4CAC-8144-BED2FBF8E055}"/>
          </ac:cxnSpMkLst>
        </pc:cxnChg>
      </pc:sldChg>
      <pc:sldChg chg="modSp add del mod">
        <pc:chgData name="Maximilian Maier" userId="2dea75bf-1e61-418a-9a4e-3c96e4410998" providerId="ADAL" clId="{E5FA7755-4464-4339-8923-4731CE90646D}" dt="2023-12-04T12:05:39.258" v="7332" actId="47"/>
        <pc:sldMkLst>
          <pc:docMk/>
          <pc:sldMk cId="2796138242" sldId="2147478835"/>
        </pc:sldMkLst>
        <pc:spChg chg="mod">
          <ac:chgData name="Maximilian Maier" userId="2dea75bf-1e61-418a-9a4e-3c96e4410998" providerId="ADAL" clId="{E5FA7755-4464-4339-8923-4731CE90646D}" dt="2023-11-30T10:21:39.995" v="381"/>
          <ac:spMkLst>
            <pc:docMk/>
            <pc:sldMk cId="2796138242" sldId="2147478835"/>
            <ac:spMk id="7" creationId="{3E2410B3-D3B5-7E26-6C2C-4177327AA2AC}"/>
          </ac:spMkLst>
        </pc:spChg>
      </pc:sldChg>
      <pc:sldChg chg="add ord">
        <pc:chgData name="Maximilian Maier" userId="2dea75bf-1e61-418a-9a4e-3c96e4410998" providerId="ADAL" clId="{E5FA7755-4464-4339-8923-4731CE90646D}" dt="2023-12-04T13:32:59.420" v="7828"/>
        <pc:sldMkLst>
          <pc:docMk/>
          <pc:sldMk cId="2261931716" sldId="2147478860"/>
        </pc:sldMkLst>
      </pc:sldChg>
      <pc:sldChg chg="add del">
        <pc:chgData name="Maximilian Maier" userId="2dea75bf-1e61-418a-9a4e-3c96e4410998" providerId="ADAL" clId="{E5FA7755-4464-4339-8923-4731CE90646D}" dt="2023-12-04T12:05:41.474" v="7334" actId="47"/>
        <pc:sldMkLst>
          <pc:docMk/>
          <pc:sldMk cId="4136392212" sldId="2147478865"/>
        </pc:sldMkLst>
      </pc:sldChg>
      <pc:sldChg chg="addSp delSp modSp new mod modClrScheme chgLayout">
        <pc:chgData name="Maximilian Maier" userId="2dea75bf-1e61-418a-9a4e-3c96e4410998" providerId="ADAL" clId="{E5FA7755-4464-4339-8923-4731CE90646D}" dt="2023-12-04T10:40:39.775" v="5394" actId="6549"/>
        <pc:sldMkLst>
          <pc:docMk/>
          <pc:sldMk cId="4143411328" sldId="2147478866"/>
        </pc:sldMkLst>
        <pc:spChg chg="mod ord">
          <ac:chgData name="Maximilian Maier" userId="2dea75bf-1e61-418a-9a4e-3c96e4410998" providerId="ADAL" clId="{E5FA7755-4464-4339-8923-4731CE90646D}" dt="2023-12-04T10:40:34.267" v="5393" actId="20577"/>
          <ac:spMkLst>
            <pc:docMk/>
            <pc:sldMk cId="4143411328" sldId="2147478866"/>
            <ac:spMk id="2" creationId="{D02EA3BB-9610-9535-7372-00F25D67FC13}"/>
          </ac:spMkLst>
        </pc:spChg>
        <pc:spChg chg="del mod ord">
          <ac:chgData name="Maximilian Maier" userId="2dea75bf-1e61-418a-9a4e-3c96e4410998" providerId="ADAL" clId="{E5FA7755-4464-4339-8923-4731CE90646D}" dt="2023-11-30T10:31:07.707" v="683" actId="700"/>
          <ac:spMkLst>
            <pc:docMk/>
            <pc:sldMk cId="4143411328" sldId="2147478866"/>
            <ac:spMk id="3" creationId="{9A376712-B125-DE39-3B08-D755A60E3B2C}"/>
          </ac:spMkLst>
        </pc:spChg>
        <pc:spChg chg="del">
          <ac:chgData name="Maximilian Maier" userId="2dea75bf-1e61-418a-9a4e-3c96e4410998" providerId="ADAL" clId="{E5FA7755-4464-4339-8923-4731CE90646D}" dt="2023-11-30T10:31:07.707" v="683" actId="700"/>
          <ac:spMkLst>
            <pc:docMk/>
            <pc:sldMk cId="4143411328" sldId="2147478866"/>
            <ac:spMk id="4" creationId="{17FB06A5-5789-2CF2-E31B-019DF8DBC062}"/>
          </ac:spMkLst>
        </pc:spChg>
        <pc:spChg chg="del mod ord">
          <ac:chgData name="Maximilian Maier" userId="2dea75bf-1e61-418a-9a4e-3c96e4410998" providerId="ADAL" clId="{E5FA7755-4464-4339-8923-4731CE90646D}" dt="2023-11-30T10:31:07.707" v="683" actId="700"/>
          <ac:spMkLst>
            <pc:docMk/>
            <pc:sldMk cId="4143411328" sldId="2147478866"/>
            <ac:spMk id="5" creationId="{F3250CF2-9D95-6945-BF55-2FAA93E215F5}"/>
          </ac:spMkLst>
        </pc:spChg>
        <pc:spChg chg="add mod ord">
          <ac:chgData name="Maximilian Maier" userId="2dea75bf-1e61-418a-9a4e-3c96e4410998" providerId="ADAL" clId="{E5FA7755-4464-4339-8923-4731CE90646D}" dt="2023-12-04T10:40:39.775" v="5394" actId="6549"/>
          <ac:spMkLst>
            <pc:docMk/>
            <pc:sldMk cId="4143411328" sldId="2147478866"/>
            <ac:spMk id="6" creationId="{6D0F0B95-2292-94CE-3481-CC4ED41030A9}"/>
          </ac:spMkLst>
        </pc:spChg>
        <pc:spChg chg="add mod ord">
          <ac:chgData name="Maximilian Maier" userId="2dea75bf-1e61-418a-9a4e-3c96e4410998" providerId="ADAL" clId="{E5FA7755-4464-4339-8923-4731CE90646D}" dt="2023-11-30T10:31:07.707" v="683" actId="700"/>
          <ac:spMkLst>
            <pc:docMk/>
            <pc:sldMk cId="4143411328" sldId="2147478866"/>
            <ac:spMk id="7" creationId="{AB73554A-DCF2-B62B-846D-CC326A1C10AE}"/>
          </ac:spMkLst>
        </pc:spChg>
      </pc:sldChg>
      <pc:sldChg chg="addSp delSp modSp add mod ord setBg modClrScheme chgLayout">
        <pc:chgData name="Maximilian Maier" userId="2dea75bf-1e61-418a-9a4e-3c96e4410998" providerId="ADAL" clId="{E5FA7755-4464-4339-8923-4731CE90646D}" dt="2023-12-05T09:01:17.354" v="9242" actId="478"/>
        <pc:sldMkLst>
          <pc:docMk/>
          <pc:sldMk cId="3187547680" sldId="2147478867"/>
        </pc:sldMkLst>
        <pc:spChg chg="mod ord">
          <ac:chgData name="Maximilian Maier" userId="2dea75bf-1e61-418a-9a4e-3c96e4410998" providerId="ADAL" clId="{E5FA7755-4464-4339-8923-4731CE90646D}" dt="2023-12-05T07:46:24.573" v="9221"/>
          <ac:spMkLst>
            <pc:docMk/>
            <pc:sldMk cId="3187547680" sldId="2147478867"/>
            <ac:spMk id="2" creationId="{D02EA3BB-9610-9535-7372-00F25D67FC13}"/>
          </ac:spMkLst>
        </pc:spChg>
        <pc:spChg chg="add del mod ord">
          <ac:chgData name="Maximilian Maier" userId="2dea75bf-1e61-418a-9a4e-3c96e4410998" providerId="ADAL" clId="{E5FA7755-4464-4339-8923-4731CE90646D}" dt="2023-12-05T07:46:24.573" v="9221"/>
          <ac:spMkLst>
            <pc:docMk/>
            <pc:sldMk cId="3187547680" sldId="2147478867"/>
            <ac:spMk id="3" creationId="{783F9845-F715-B744-DD84-642ACB6B2073}"/>
          </ac:spMkLst>
        </pc:spChg>
        <pc:spChg chg="del">
          <ac:chgData name="Maximilian Maier" userId="2dea75bf-1e61-418a-9a4e-3c96e4410998" providerId="ADAL" clId="{E5FA7755-4464-4339-8923-4731CE90646D}" dt="2023-11-30T10:24:29.583" v="399"/>
          <ac:spMkLst>
            <pc:docMk/>
            <pc:sldMk cId="3187547680" sldId="2147478867"/>
            <ac:spMk id="3" creationId="{9A376712-B125-DE39-3B08-D755A60E3B2C}"/>
          </ac:spMkLst>
        </pc:spChg>
        <pc:spChg chg="del mod">
          <ac:chgData name="Maximilian Maier" userId="2dea75bf-1e61-418a-9a4e-3c96e4410998" providerId="ADAL" clId="{E5FA7755-4464-4339-8923-4731CE90646D}" dt="2023-11-30T10:28:50.213" v="643" actId="700"/>
          <ac:spMkLst>
            <pc:docMk/>
            <pc:sldMk cId="3187547680" sldId="2147478867"/>
            <ac:spMk id="4" creationId="{17FB06A5-5789-2CF2-E31B-019DF8DBC062}"/>
          </ac:spMkLst>
        </pc:spChg>
        <pc:spChg chg="add del mod">
          <ac:chgData name="Maximilian Maier" userId="2dea75bf-1e61-418a-9a4e-3c96e4410998" providerId="ADAL" clId="{E5FA7755-4464-4339-8923-4731CE90646D}" dt="2023-12-05T07:46:24.573" v="9221"/>
          <ac:spMkLst>
            <pc:docMk/>
            <pc:sldMk cId="3187547680" sldId="2147478867"/>
            <ac:spMk id="4" creationId="{936B9B0F-71D9-A112-0520-7C48D681DBC4}"/>
          </ac:spMkLst>
        </pc:spChg>
        <pc:spChg chg="add del mod">
          <ac:chgData name="Maximilian Maier" userId="2dea75bf-1e61-418a-9a4e-3c96e4410998" providerId="ADAL" clId="{E5FA7755-4464-4339-8923-4731CE90646D}" dt="2023-12-05T09:01:17.354" v="9242" actId="478"/>
          <ac:spMkLst>
            <pc:docMk/>
            <pc:sldMk cId="3187547680" sldId="2147478867"/>
            <ac:spMk id="5" creationId="{3EFC6817-CCF7-11D9-498D-3AFD216D72D3}"/>
          </ac:spMkLst>
        </pc:spChg>
        <pc:spChg chg="del mod ord">
          <ac:chgData name="Maximilian Maier" userId="2dea75bf-1e61-418a-9a4e-3c96e4410998" providerId="ADAL" clId="{E5FA7755-4464-4339-8923-4731CE90646D}" dt="2023-11-30T10:30:16.128" v="671" actId="478"/>
          <ac:spMkLst>
            <pc:docMk/>
            <pc:sldMk cId="3187547680" sldId="2147478867"/>
            <ac:spMk id="5" creationId="{F3250CF2-9D95-6945-BF55-2FAA93E215F5}"/>
          </ac:spMkLst>
        </pc:spChg>
        <pc:spChg chg="add del mod">
          <ac:chgData name="Maximilian Maier" userId="2dea75bf-1e61-418a-9a4e-3c96e4410998" providerId="ADAL" clId="{E5FA7755-4464-4339-8923-4731CE90646D}" dt="2023-11-30T10:24:27.759" v="398" actId="478"/>
          <ac:spMkLst>
            <pc:docMk/>
            <pc:sldMk cId="3187547680" sldId="2147478867"/>
            <ac:spMk id="7" creationId="{DDB00238-B71F-679F-DCB2-D453F82A70F2}"/>
          </ac:spMkLst>
        </pc:spChg>
        <pc:spChg chg="add del mod">
          <ac:chgData name="Maximilian Maier" userId="2dea75bf-1e61-418a-9a4e-3c96e4410998" providerId="ADAL" clId="{E5FA7755-4464-4339-8923-4731CE90646D}" dt="2023-11-30T10:24:29.583" v="399"/>
          <ac:spMkLst>
            <pc:docMk/>
            <pc:sldMk cId="3187547680" sldId="2147478867"/>
            <ac:spMk id="8" creationId="{BB4634AE-B197-9E2F-7B38-A7531ADE1EA9}"/>
          </ac:spMkLst>
        </pc:spChg>
        <pc:spChg chg="add del mod">
          <ac:chgData name="Maximilian Maier" userId="2dea75bf-1e61-418a-9a4e-3c96e4410998" providerId="ADAL" clId="{E5FA7755-4464-4339-8923-4731CE90646D}" dt="2023-11-30T10:24:29.583" v="399"/>
          <ac:spMkLst>
            <pc:docMk/>
            <pc:sldMk cId="3187547680" sldId="2147478867"/>
            <ac:spMk id="9" creationId="{B22070CA-167F-14EA-8095-8CB2115AF809}"/>
          </ac:spMkLst>
        </pc:spChg>
        <pc:spChg chg="add del mod">
          <ac:chgData name="Maximilian Maier" userId="2dea75bf-1e61-418a-9a4e-3c96e4410998" providerId="ADAL" clId="{E5FA7755-4464-4339-8923-4731CE90646D}" dt="2023-11-30T10:24:29.583" v="399"/>
          <ac:spMkLst>
            <pc:docMk/>
            <pc:sldMk cId="3187547680" sldId="2147478867"/>
            <ac:spMk id="10" creationId="{9E374AD0-757E-0E61-A959-DACBE7BD48A8}"/>
          </ac:spMkLst>
        </pc:spChg>
        <pc:spChg chg="add del mod ord">
          <ac:chgData name="Maximilian Maier" userId="2dea75bf-1e61-418a-9a4e-3c96e4410998" providerId="ADAL" clId="{E5FA7755-4464-4339-8923-4731CE90646D}" dt="2023-11-30T10:28:50.213" v="643" actId="700"/>
          <ac:spMkLst>
            <pc:docMk/>
            <pc:sldMk cId="3187547680" sldId="2147478867"/>
            <ac:spMk id="11" creationId="{D80A12B4-C3C6-21DA-4AD1-1CD0B4A7E818}"/>
          </ac:spMkLst>
        </pc:spChg>
        <pc:spChg chg="add del mod">
          <ac:chgData name="Maximilian Maier" userId="2dea75bf-1e61-418a-9a4e-3c96e4410998" providerId="ADAL" clId="{E5FA7755-4464-4339-8923-4731CE90646D}" dt="2023-11-30T10:27:09.362" v="450"/>
          <ac:spMkLst>
            <pc:docMk/>
            <pc:sldMk cId="3187547680" sldId="2147478867"/>
            <ac:spMk id="12" creationId="{29898519-CD42-0D88-0D7D-FACBE7008A64}"/>
          </ac:spMkLst>
        </pc:spChg>
        <pc:spChg chg="add del mod">
          <ac:chgData name="Maximilian Maier" userId="2dea75bf-1e61-418a-9a4e-3c96e4410998" providerId="ADAL" clId="{E5FA7755-4464-4339-8923-4731CE90646D}" dt="2023-11-30T10:30:19.805" v="673" actId="478"/>
          <ac:spMkLst>
            <pc:docMk/>
            <pc:sldMk cId="3187547680" sldId="2147478867"/>
            <ac:spMk id="18" creationId="{0BA5CABF-83C8-A674-40D7-64CD7B32DCA5}"/>
          </ac:spMkLst>
        </pc:spChg>
        <pc:spChg chg="add del mod">
          <ac:chgData name="Maximilian Maier" userId="2dea75bf-1e61-418a-9a4e-3c96e4410998" providerId="ADAL" clId="{E5FA7755-4464-4339-8923-4731CE90646D}" dt="2023-11-30T10:30:26.461" v="675" actId="478"/>
          <ac:spMkLst>
            <pc:docMk/>
            <pc:sldMk cId="3187547680" sldId="2147478867"/>
            <ac:spMk id="19" creationId="{71CAE65B-F757-9F0E-CCE4-170A28989023}"/>
          </ac:spMkLst>
        </pc:spChg>
        <pc:spChg chg="add del mod">
          <ac:chgData name="Maximilian Maier" userId="2dea75bf-1e61-418a-9a4e-3c96e4410998" providerId="ADAL" clId="{E5FA7755-4464-4339-8923-4731CE90646D}" dt="2023-11-30T10:30:29.225" v="679"/>
          <ac:spMkLst>
            <pc:docMk/>
            <pc:sldMk cId="3187547680" sldId="2147478867"/>
            <ac:spMk id="20" creationId="{68489D5B-B496-78A9-DE16-1357A75A24A7}"/>
          </ac:spMkLst>
        </pc:spChg>
        <pc:picChg chg="add del">
          <ac:chgData name="Maximilian Maier" userId="2dea75bf-1e61-418a-9a4e-3c96e4410998" providerId="ADAL" clId="{E5FA7755-4464-4339-8923-4731CE90646D}" dt="2023-11-30T10:27:22.685" v="452" actId="22"/>
          <ac:picMkLst>
            <pc:docMk/>
            <pc:sldMk cId="3187547680" sldId="2147478867"/>
            <ac:picMk id="14" creationId="{AC6662C8-873E-7A11-FB47-D10816646988}"/>
          </ac:picMkLst>
        </pc:picChg>
        <pc:picChg chg="add del mod">
          <ac:chgData name="Maximilian Maier" userId="2dea75bf-1e61-418a-9a4e-3c96e4410998" providerId="ADAL" clId="{E5FA7755-4464-4339-8923-4731CE90646D}" dt="2023-11-30T10:30:21.737" v="674" actId="478"/>
          <ac:picMkLst>
            <pc:docMk/>
            <pc:sldMk cId="3187547680" sldId="2147478867"/>
            <ac:picMk id="16" creationId="{E856A0CF-85E7-C521-40FB-635D0B5F4AB9}"/>
          </ac:picMkLst>
        </pc:picChg>
        <pc:picChg chg="add del mod">
          <ac:chgData name="Maximilian Maier" userId="2dea75bf-1e61-418a-9a4e-3c96e4410998" providerId="ADAL" clId="{E5FA7755-4464-4339-8923-4731CE90646D}" dt="2023-12-05T09:01:14.393" v="9241" actId="1076"/>
          <ac:picMkLst>
            <pc:docMk/>
            <pc:sldMk cId="3187547680" sldId="2147478867"/>
            <ac:picMk id="21" creationId="{3B6D38C6-8269-FAA5-B842-E8C492307C26}"/>
          </ac:picMkLst>
        </pc:picChg>
      </pc:sldChg>
      <pc:sldChg chg="addSp delSp modSp add mod ord modAnim">
        <pc:chgData name="Maximilian Maier" userId="2dea75bf-1e61-418a-9a4e-3c96e4410998" providerId="ADAL" clId="{E5FA7755-4464-4339-8923-4731CE90646D}" dt="2023-12-04T10:40:47.867" v="5395"/>
        <pc:sldMkLst>
          <pc:docMk/>
          <pc:sldMk cId="1991645758" sldId="2147478868"/>
        </pc:sldMkLst>
        <pc:spChg chg="mod">
          <ac:chgData name="Maximilian Maier" userId="2dea75bf-1e61-418a-9a4e-3c96e4410998" providerId="ADAL" clId="{E5FA7755-4464-4339-8923-4731CE90646D}" dt="2023-12-04T10:40:47.867" v="5395"/>
          <ac:spMkLst>
            <pc:docMk/>
            <pc:sldMk cId="1991645758" sldId="2147478868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1-30T10:56:31.635" v="889" actId="1076"/>
          <ac:spMkLst>
            <pc:docMk/>
            <pc:sldMk cId="1991645758" sldId="2147478868"/>
            <ac:spMk id="3" creationId="{9A376712-B125-DE39-3B08-D755A60E3B2C}"/>
          </ac:spMkLst>
        </pc:spChg>
        <pc:spChg chg="del">
          <ac:chgData name="Maximilian Maier" userId="2dea75bf-1e61-418a-9a4e-3c96e4410998" providerId="ADAL" clId="{E5FA7755-4464-4339-8923-4731CE90646D}" dt="2023-11-30T10:32:12.398" v="773" actId="478"/>
          <ac:spMkLst>
            <pc:docMk/>
            <pc:sldMk cId="1991645758" sldId="2147478868"/>
            <ac:spMk id="5" creationId="{F3250CF2-9D95-6945-BF55-2FAA93E215F5}"/>
          </ac:spMkLst>
        </pc:spChg>
        <pc:spChg chg="add del mod">
          <ac:chgData name="Maximilian Maier" userId="2dea75bf-1e61-418a-9a4e-3c96e4410998" providerId="ADAL" clId="{E5FA7755-4464-4339-8923-4731CE90646D}" dt="2023-11-30T10:36:15.744" v="800" actId="478"/>
          <ac:spMkLst>
            <pc:docMk/>
            <pc:sldMk cId="1991645758" sldId="2147478868"/>
            <ac:spMk id="12" creationId="{9F5BF80E-7153-15F9-C834-B27646CCF8BA}"/>
          </ac:spMkLst>
        </pc:spChg>
        <pc:spChg chg="add mod">
          <ac:chgData name="Maximilian Maier" userId="2dea75bf-1e61-418a-9a4e-3c96e4410998" providerId="ADAL" clId="{E5FA7755-4464-4339-8923-4731CE90646D}" dt="2023-12-01T11:10:19.750" v="922" actId="1076"/>
          <ac:spMkLst>
            <pc:docMk/>
            <pc:sldMk cId="1991645758" sldId="2147478868"/>
            <ac:spMk id="29" creationId="{FD783BBB-09D0-E008-0EEA-EC241F8878F8}"/>
          </ac:spMkLst>
        </pc:spChg>
        <pc:spChg chg="add mod">
          <ac:chgData name="Maximilian Maier" userId="2dea75bf-1e61-418a-9a4e-3c96e4410998" providerId="ADAL" clId="{E5FA7755-4464-4339-8923-4731CE90646D}" dt="2023-11-30T10:57:15.842" v="895" actId="1076"/>
          <ac:spMkLst>
            <pc:docMk/>
            <pc:sldMk cId="1991645758" sldId="2147478868"/>
            <ac:spMk id="30" creationId="{C3F37F0A-5CA4-E434-69D7-E3EDA0D84627}"/>
          </ac:spMkLst>
        </pc:spChg>
        <pc:picChg chg="add del mod">
          <ac:chgData name="Maximilian Maier" userId="2dea75bf-1e61-418a-9a4e-3c96e4410998" providerId="ADAL" clId="{E5FA7755-4464-4339-8923-4731CE90646D}" dt="2023-11-30T10:53:08.518" v="868" actId="478"/>
          <ac:picMkLst>
            <pc:docMk/>
            <pc:sldMk cId="1991645758" sldId="2147478868"/>
            <ac:picMk id="7" creationId="{855E4DE9-6794-2281-C052-2DBCDBE50B22}"/>
          </ac:picMkLst>
        </pc:picChg>
        <pc:picChg chg="add mod ord">
          <ac:chgData name="Maximilian Maier" userId="2dea75bf-1e61-418a-9a4e-3c96e4410998" providerId="ADAL" clId="{E5FA7755-4464-4339-8923-4731CE90646D}" dt="2023-11-30T10:57:44.874" v="901" actId="1076"/>
          <ac:picMkLst>
            <pc:docMk/>
            <pc:sldMk cId="1991645758" sldId="2147478868"/>
            <ac:picMk id="9" creationId="{C59F0845-969B-DC13-92D8-34809DE8246D}"/>
          </ac:picMkLst>
        </pc:picChg>
        <pc:picChg chg="add del mod">
          <ac:chgData name="Maximilian Maier" userId="2dea75bf-1e61-418a-9a4e-3c96e4410998" providerId="ADAL" clId="{E5FA7755-4464-4339-8923-4731CE90646D}" dt="2023-11-30T10:34:09.230" v="786" actId="478"/>
          <ac:picMkLst>
            <pc:docMk/>
            <pc:sldMk cId="1991645758" sldId="2147478868"/>
            <ac:picMk id="11" creationId="{2E70018A-48E1-C9A9-8C0D-66848B5C4E7E}"/>
          </ac:picMkLst>
        </pc:picChg>
        <pc:picChg chg="add del mod">
          <ac:chgData name="Maximilian Maier" userId="2dea75bf-1e61-418a-9a4e-3c96e4410998" providerId="ADAL" clId="{E5FA7755-4464-4339-8923-4731CE90646D}" dt="2023-11-30T10:36:15.038" v="798" actId="478"/>
          <ac:picMkLst>
            <pc:docMk/>
            <pc:sldMk cId="1991645758" sldId="2147478868"/>
            <ac:picMk id="13" creationId="{DA895609-D57D-5893-E571-4E4910CA4490}"/>
          </ac:picMkLst>
        </pc:picChg>
        <pc:picChg chg="add del mod">
          <ac:chgData name="Maximilian Maier" userId="2dea75bf-1e61-418a-9a4e-3c96e4410998" providerId="ADAL" clId="{E5FA7755-4464-4339-8923-4731CE90646D}" dt="2023-11-30T10:36:15.384" v="799" actId="478"/>
          <ac:picMkLst>
            <pc:docMk/>
            <pc:sldMk cId="1991645758" sldId="2147478868"/>
            <ac:picMk id="14" creationId="{AEDF8E88-7664-ECB6-4410-DB25D84D2F08}"/>
          </ac:picMkLst>
        </pc:picChg>
        <pc:picChg chg="add del mod">
          <ac:chgData name="Maximilian Maier" userId="2dea75bf-1e61-418a-9a4e-3c96e4410998" providerId="ADAL" clId="{E5FA7755-4464-4339-8923-4731CE90646D}" dt="2023-11-30T10:36:14.645" v="797" actId="478"/>
          <ac:picMkLst>
            <pc:docMk/>
            <pc:sldMk cId="1991645758" sldId="2147478868"/>
            <ac:picMk id="15" creationId="{01A86AE2-FDA3-71D4-60D4-3C41A3391EFF}"/>
          </ac:picMkLst>
        </pc:picChg>
        <pc:picChg chg="add del mod">
          <ac:chgData name="Maximilian Maier" userId="2dea75bf-1e61-418a-9a4e-3c96e4410998" providerId="ADAL" clId="{E5FA7755-4464-4339-8923-4731CE90646D}" dt="2023-11-30T10:36:14.237" v="796" actId="478"/>
          <ac:picMkLst>
            <pc:docMk/>
            <pc:sldMk cId="1991645758" sldId="2147478868"/>
            <ac:picMk id="16" creationId="{48DB2705-DEE2-1BB4-5563-7E2269129A26}"/>
          </ac:picMkLst>
        </pc:picChg>
        <pc:picChg chg="add mod">
          <ac:chgData name="Maximilian Maier" userId="2dea75bf-1e61-418a-9a4e-3c96e4410998" providerId="ADAL" clId="{E5FA7755-4464-4339-8923-4731CE90646D}" dt="2023-11-30T10:37:48.619" v="843" actId="1076"/>
          <ac:picMkLst>
            <pc:docMk/>
            <pc:sldMk cId="1991645758" sldId="2147478868"/>
            <ac:picMk id="17" creationId="{3F3B4AA7-401B-1758-2AD3-904267116CB6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19" creationId="{1C025A6E-BF80-4790-4AC1-8178A7A84080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20" creationId="{0C34AA3C-9DF3-5CCA-F125-9128A76200AC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21" creationId="{DE7BE4EF-4C45-E28E-7269-4EEEA7769329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22" creationId="{EB42D889-F4DF-171B-6932-7B53BFF7A2B3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23" creationId="{16B2DD85-87D2-5308-6EC0-02CBCDF92966}"/>
          </ac:picMkLst>
        </pc:picChg>
        <pc:picChg chg="add mod">
          <ac:chgData name="Maximilian Maier" userId="2dea75bf-1e61-418a-9a4e-3c96e4410998" providerId="ADAL" clId="{E5FA7755-4464-4339-8923-4731CE90646D}" dt="2023-11-30T10:37:56.142" v="864" actId="1037"/>
          <ac:picMkLst>
            <pc:docMk/>
            <pc:sldMk cId="1991645758" sldId="2147478868"/>
            <ac:picMk id="24" creationId="{613402FB-9843-3D23-EE03-8A973F77A058}"/>
          </ac:picMkLst>
        </pc:picChg>
        <pc:picChg chg="add mod">
          <ac:chgData name="Maximilian Maier" userId="2dea75bf-1e61-418a-9a4e-3c96e4410998" providerId="ADAL" clId="{E5FA7755-4464-4339-8923-4731CE90646D}" dt="2023-11-30T10:57:26.448" v="897" actId="1076"/>
          <ac:picMkLst>
            <pc:docMk/>
            <pc:sldMk cId="1991645758" sldId="2147478868"/>
            <ac:picMk id="25" creationId="{EF088D8F-42A9-8AB4-36BA-ADDDDB4CACEC}"/>
          </ac:picMkLst>
        </pc:picChg>
        <pc:picChg chg="add mod">
          <ac:chgData name="Maximilian Maier" userId="2dea75bf-1e61-418a-9a4e-3c96e4410998" providerId="ADAL" clId="{E5FA7755-4464-4339-8923-4731CE90646D}" dt="2023-11-30T10:57:43.570" v="900" actId="1076"/>
          <ac:picMkLst>
            <pc:docMk/>
            <pc:sldMk cId="1991645758" sldId="2147478868"/>
            <ac:picMk id="26" creationId="{C1570CE8-E761-1E07-D3F6-C83CA7672609}"/>
          </ac:picMkLst>
        </pc:picChg>
        <pc:picChg chg="add mod">
          <ac:chgData name="Maximilian Maier" userId="2dea75bf-1e61-418a-9a4e-3c96e4410998" providerId="ADAL" clId="{E5FA7755-4464-4339-8923-4731CE90646D}" dt="2023-11-30T10:57:39.469" v="899" actId="1076"/>
          <ac:picMkLst>
            <pc:docMk/>
            <pc:sldMk cId="1991645758" sldId="2147478868"/>
            <ac:picMk id="27" creationId="{7E561B84-DA1A-434B-D908-AE13B318F757}"/>
          </ac:picMkLst>
        </pc:picChg>
        <pc:picChg chg="add mod">
          <ac:chgData name="Maximilian Maier" userId="2dea75bf-1e61-418a-9a4e-3c96e4410998" providerId="ADAL" clId="{E5FA7755-4464-4339-8923-4731CE90646D}" dt="2023-11-30T10:57:39.469" v="899" actId="1076"/>
          <ac:picMkLst>
            <pc:docMk/>
            <pc:sldMk cId="1991645758" sldId="2147478868"/>
            <ac:picMk id="28" creationId="{0AE49CAA-75C7-21AA-474F-1D444273DA79}"/>
          </ac:picMkLst>
        </pc:picChg>
      </pc:sldChg>
      <pc:sldChg chg="modSp add del mod">
        <pc:chgData name="Maximilian Maier" userId="2dea75bf-1e61-418a-9a4e-3c96e4410998" providerId="ADAL" clId="{E5FA7755-4464-4339-8923-4731CE90646D}" dt="2023-12-01T11:57:24.135" v="2200" actId="47"/>
        <pc:sldMkLst>
          <pc:docMk/>
          <pc:sldMk cId="2394949802" sldId="2147478869"/>
        </pc:sldMkLst>
        <pc:spChg chg="mod">
          <ac:chgData name="Maximilian Maier" userId="2dea75bf-1e61-418a-9a4e-3c96e4410998" providerId="ADAL" clId="{E5FA7755-4464-4339-8923-4731CE90646D}" dt="2023-11-30T10:18:03.408" v="178" actId="20577"/>
          <ac:spMkLst>
            <pc:docMk/>
            <pc:sldMk cId="2394949802" sldId="2147478869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1-30T10:18:19.085" v="211" actId="20577"/>
          <ac:spMkLst>
            <pc:docMk/>
            <pc:sldMk cId="2394949802" sldId="2147478869"/>
            <ac:spMk id="3" creationId="{9A376712-B125-DE39-3B08-D755A60E3B2C}"/>
          </ac:spMkLst>
        </pc:spChg>
      </pc:sldChg>
      <pc:sldChg chg="modSp add del mod ord">
        <pc:chgData name="Maximilian Maier" userId="2dea75bf-1e61-418a-9a4e-3c96e4410998" providerId="ADAL" clId="{E5FA7755-4464-4339-8923-4731CE90646D}" dt="2023-12-04T10:39:16.096" v="5359" actId="47"/>
        <pc:sldMkLst>
          <pc:docMk/>
          <pc:sldMk cId="448104637" sldId="2147478870"/>
        </pc:sldMkLst>
        <pc:spChg chg="mod">
          <ac:chgData name="Maximilian Maier" userId="2dea75bf-1e61-418a-9a4e-3c96e4410998" providerId="ADAL" clId="{E5FA7755-4464-4339-8923-4731CE90646D}" dt="2023-11-30T10:18:39.617" v="246" actId="20577"/>
          <ac:spMkLst>
            <pc:docMk/>
            <pc:sldMk cId="448104637" sldId="2147478870"/>
            <ac:spMk id="3" creationId="{9A376712-B125-DE39-3B08-D755A60E3B2C}"/>
          </ac:spMkLst>
        </pc:spChg>
      </pc:sldChg>
      <pc:sldChg chg="modSp add del mod">
        <pc:chgData name="Maximilian Maier" userId="2dea75bf-1e61-418a-9a4e-3c96e4410998" providerId="ADAL" clId="{E5FA7755-4464-4339-8923-4731CE90646D}" dt="2023-12-04T10:41:11.115" v="5401" actId="47"/>
        <pc:sldMkLst>
          <pc:docMk/>
          <pc:sldMk cId="2703923969" sldId="2147478871"/>
        </pc:sldMkLst>
        <pc:spChg chg="mod">
          <ac:chgData name="Maximilian Maier" userId="2dea75bf-1e61-418a-9a4e-3c96e4410998" providerId="ADAL" clId="{E5FA7755-4464-4339-8923-4731CE90646D}" dt="2023-11-30T10:19:36.554" v="300" actId="20577"/>
          <ac:spMkLst>
            <pc:docMk/>
            <pc:sldMk cId="2703923969" sldId="2147478871"/>
            <ac:spMk id="3" creationId="{9A376712-B125-DE39-3B08-D755A60E3B2C}"/>
          </ac:spMkLst>
        </pc:spChg>
      </pc:sldChg>
      <pc:sldChg chg="modSp add del mod">
        <pc:chgData name="Maximilian Maier" userId="2dea75bf-1e61-418a-9a4e-3c96e4410998" providerId="ADAL" clId="{E5FA7755-4464-4339-8923-4731CE90646D}" dt="2023-12-04T10:39:48.131" v="5371" actId="47"/>
        <pc:sldMkLst>
          <pc:docMk/>
          <pc:sldMk cId="922234397" sldId="2147478872"/>
        </pc:sldMkLst>
        <pc:spChg chg="mod">
          <ac:chgData name="Maximilian Maier" userId="2dea75bf-1e61-418a-9a4e-3c96e4410998" providerId="ADAL" clId="{E5FA7755-4464-4339-8923-4731CE90646D}" dt="2023-11-30T10:19:16.972" v="256" actId="20577"/>
          <ac:spMkLst>
            <pc:docMk/>
            <pc:sldMk cId="922234397" sldId="2147478872"/>
            <ac:spMk id="3" creationId="{9A376712-B125-DE39-3B08-D755A60E3B2C}"/>
          </ac:spMkLst>
        </pc:spChg>
      </pc:sldChg>
      <pc:sldChg chg="modSp add del mod">
        <pc:chgData name="Maximilian Maier" userId="2dea75bf-1e61-418a-9a4e-3c96e4410998" providerId="ADAL" clId="{E5FA7755-4464-4339-8923-4731CE90646D}" dt="2023-12-04T10:39:49.921" v="5372" actId="47"/>
        <pc:sldMkLst>
          <pc:docMk/>
          <pc:sldMk cId="3836736499" sldId="2147478873"/>
        </pc:sldMkLst>
        <pc:spChg chg="mod">
          <ac:chgData name="Maximilian Maier" userId="2dea75bf-1e61-418a-9a4e-3c96e4410998" providerId="ADAL" clId="{E5FA7755-4464-4339-8923-4731CE90646D}" dt="2023-11-30T10:19:25.481" v="286" actId="20577"/>
          <ac:spMkLst>
            <pc:docMk/>
            <pc:sldMk cId="3836736499" sldId="2147478873"/>
            <ac:spMk id="3" creationId="{9A376712-B125-DE39-3B08-D755A60E3B2C}"/>
          </ac:spMkLst>
        </pc:spChg>
      </pc:sldChg>
      <pc:sldChg chg="modSp add del mod">
        <pc:chgData name="Maximilian Maier" userId="2dea75bf-1e61-418a-9a4e-3c96e4410998" providerId="ADAL" clId="{E5FA7755-4464-4339-8923-4731CE90646D}" dt="2023-12-04T11:41:31.899" v="6437" actId="47"/>
        <pc:sldMkLst>
          <pc:docMk/>
          <pc:sldMk cId="342592921" sldId="2147478874"/>
        </pc:sldMkLst>
        <pc:spChg chg="mod">
          <ac:chgData name="Maximilian Maier" userId="2dea75bf-1e61-418a-9a4e-3c96e4410998" providerId="ADAL" clId="{E5FA7755-4464-4339-8923-4731CE90646D}" dt="2023-11-30T10:19:58.616" v="322" actId="20577"/>
          <ac:spMkLst>
            <pc:docMk/>
            <pc:sldMk cId="342592921" sldId="2147478874"/>
            <ac:spMk id="3" creationId="{9A376712-B125-DE39-3B08-D755A60E3B2C}"/>
          </ac:spMkLst>
        </pc:spChg>
      </pc:sldChg>
      <pc:sldChg chg="addSp delSp modSp add mod ord">
        <pc:chgData name="Maximilian Maier" userId="2dea75bf-1e61-418a-9a4e-3c96e4410998" providerId="ADAL" clId="{E5FA7755-4464-4339-8923-4731CE90646D}" dt="2023-12-05T10:54:25.591" v="9361" actId="1076"/>
        <pc:sldMkLst>
          <pc:docMk/>
          <pc:sldMk cId="3891713004" sldId="2147478875"/>
        </pc:sldMkLst>
        <pc:spChg chg="mod">
          <ac:chgData name="Maximilian Maier" userId="2dea75bf-1e61-418a-9a4e-3c96e4410998" providerId="ADAL" clId="{E5FA7755-4464-4339-8923-4731CE90646D}" dt="2023-11-30T10:20:19.094" v="350" actId="20577"/>
          <ac:spMkLst>
            <pc:docMk/>
            <pc:sldMk cId="3891713004" sldId="2147478875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3:58:27.456" v="8185" actId="20577"/>
          <ac:spMkLst>
            <pc:docMk/>
            <pc:sldMk cId="3891713004" sldId="2147478875"/>
            <ac:spMk id="3" creationId="{9A376712-B125-DE39-3B08-D755A60E3B2C}"/>
          </ac:spMkLst>
        </pc:spChg>
        <pc:spChg chg="mod">
          <ac:chgData name="Maximilian Maier" userId="2dea75bf-1e61-418a-9a4e-3c96e4410998" providerId="ADAL" clId="{E5FA7755-4464-4339-8923-4731CE90646D}" dt="2023-12-05T10:54:25.591" v="9361" actId="1076"/>
          <ac:spMkLst>
            <pc:docMk/>
            <pc:sldMk cId="3891713004" sldId="2147478875"/>
            <ac:spMk id="5" creationId="{F3250CF2-9D95-6945-BF55-2FAA93E215F5}"/>
          </ac:spMkLst>
        </pc:spChg>
        <pc:spChg chg="add del mod">
          <ac:chgData name="Maximilian Maier" userId="2dea75bf-1e61-418a-9a4e-3c96e4410998" providerId="ADAL" clId="{E5FA7755-4464-4339-8923-4731CE90646D}" dt="2023-12-04T13:18:55.193" v="7697" actId="478"/>
          <ac:spMkLst>
            <pc:docMk/>
            <pc:sldMk cId="3891713004" sldId="2147478875"/>
            <ac:spMk id="6" creationId="{6E5975FA-AD54-0DA0-82E4-86CC74BFD31B}"/>
          </ac:spMkLst>
        </pc:spChg>
        <pc:picChg chg="add mod">
          <ac:chgData name="Maximilian Maier" userId="2dea75bf-1e61-418a-9a4e-3c96e4410998" providerId="ADAL" clId="{E5FA7755-4464-4339-8923-4731CE90646D}" dt="2023-12-05T10:54:21.217" v="9360" actId="1076"/>
          <ac:picMkLst>
            <pc:docMk/>
            <pc:sldMk cId="3891713004" sldId="2147478875"/>
            <ac:picMk id="7" creationId="{32F4A969-DDC0-EB07-E29A-E173B4146D3E}"/>
          </ac:picMkLst>
        </pc:picChg>
      </pc:sldChg>
      <pc:sldChg chg="modSp add del mod">
        <pc:chgData name="Maximilian Maier" userId="2dea75bf-1e61-418a-9a4e-3c96e4410998" providerId="ADAL" clId="{E5FA7755-4464-4339-8923-4731CE90646D}" dt="2023-12-04T13:21:05.240" v="7706" actId="47"/>
        <pc:sldMkLst>
          <pc:docMk/>
          <pc:sldMk cId="865569255" sldId="2147478876"/>
        </pc:sldMkLst>
        <pc:spChg chg="mod">
          <ac:chgData name="Maximilian Maier" userId="2dea75bf-1e61-418a-9a4e-3c96e4410998" providerId="ADAL" clId="{E5FA7755-4464-4339-8923-4731CE90646D}" dt="2023-11-30T10:20:35.838" v="373" actId="20577"/>
          <ac:spMkLst>
            <pc:docMk/>
            <pc:sldMk cId="865569255" sldId="2147478876"/>
            <ac:spMk id="2" creationId="{D02EA3BB-9610-9535-7372-00F25D67FC13}"/>
          </ac:spMkLst>
        </pc:spChg>
      </pc:sldChg>
      <pc:sldChg chg="modSp add del mod">
        <pc:chgData name="Maximilian Maier" userId="2dea75bf-1e61-418a-9a4e-3c96e4410998" providerId="ADAL" clId="{E5FA7755-4464-4339-8923-4731CE90646D}" dt="2023-12-04T12:05:47.177" v="7337" actId="47"/>
        <pc:sldMkLst>
          <pc:docMk/>
          <pc:sldMk cId="2005857963" sldId="2147478877"/>
        </pc:sldMkLst>
        <pc:spChg chg="mod">
          <ac:chgData name="Maximilian Maier" userId="2dea75bf-1e61-418a-9a4e-3c96e4410998" providerId="ADAL" clId="{E5FA7755-4464-4339-8923-4731CE90646D}" dt="2023-11-30T10:20:48.513" v="376" actId="20577"/>
          <ac:spMkLst>
            <pc:docMk/>
            <pc:sldMk cId="2005857963" sldId="2147478877"/>
            <ac:spMk id="2" creationId="{D02EA3BB-9610-9535-7372-00F25D67FC13}"/>
          </ac:spMkLst>
        </pc:spChg>
      </pc:sldChg>
      <pc:sldChg chg="modSp add del mod ord">
        <pc:chgData name="Maximilian Maier" userId="2dea75bf-1e61-418a-9a4e-3c96e4410998" providerId="ADAL" clId="{E5FA7755-4464-4339-8923-4731CE90646D}" dt="2023-12-04T13:37:40.490" v="7859" actId="47"/>
        <pc:sldMkLst>
          <pc:docMk/>
          <pc:sldMk cId="1626574930" sldId="2147478878"/>
        </pc:sldMkLst>
        <pc:spChg chg="mod">
          <ac:chgData name="Maximilian Maier" userId="2dea75bf-1e61-418a-9a4e-3c96e4410998" providerId="ADAL" clId="{E5FA7755-4464-4339-8923-4731CE90646D}" dt="2023-11-30T10:23:43.257" v="394" actId="20577"/>
          <ac:spMkLst>
            <pc:docMk/>
            <pc:sldMk cId="1626574930" sldId="2147478878"/>
            <ac:spMk id="2" creationId="{D02EA3BB-9610-9535-7372-00F25D67FC13}"/>
          </ac:spMkLst>
        </pc:spChg>
      </pc:sldChg>
      <pc:sldChg chg="add del">
        <pc:chgData name="Maximilian Maier" userId="2dea75bf-1e61-418a-9a4e-3c96e4410998" providerId="ADAL" clId="{E5FA7755-4464-4339-8923-4731CE90646D}" dt="2023-11-30T10:29:49.045" v="664"/>
        <pc:sldMkLst>
          <pc:docMk/>
          <pc:sldMk cId="649775628" sldId="2147478879"/>
        </pc:sldMkLst>
      </pc:sldChg>
      <pc:sldChg chg="modSp add del mod modClrScheme chgLayout">
        <pc:chgData name="Maximilian Maier" userId="2dea75bf-1e61-418a-9a4e-3c96e4410998" providerId="ADAL" clId="{E5FA7755-4464-4339-8923-4731CE90646D}" dt="2023-11-30T10:31:02.017" v="682" actId="47"/>
        <pc:sldMkLst>
          <pc:docMk/>
          <pc:sldMk cId="2430866745" sldId="2147478879"/>
        </pc:sldMkLst>
        <pc:spChg chg="mod ord">
          <ac:chgData name="Maximilian Maier" userId="2dea75bf-1e61-418a-9a4e-3c96e4410998" providerId="ADAL" clId="{E5FA7755-4464-4339-8923-4731CE90646D}" dt="2023-11-30T10:29:54.120" v="667" actId="700"/>
          <ac:spMkLst>
            <pc:docMk/>
            <pc:sldMk cId="2430866745" sldId="2147478879"/>
            <ac:spMk id="2" creationId="{D02EA3BB-9610-9535-7372-00F25D67FC13}"/>
          </ac:spMkLst>
        </pc:spChg>
        <pc:spChg chg="mod ord">
          <ac:chgData name="Maximilian Maier" userId="2dea75bf-1e61-418a-9a4e-3c96e4410998" providerId="ADAL" clId="{E5FA7755-4464-4339-8923-4731CE90646D}" dt="2023-11-30T10:30:11.951" v="670" actId="1076"/>
          <ac:spMkLst>
            <pc:docMk/>
            <pc:sldMk cId="2430866745" sldId="2147478879"/>
            <ac:spMk id="5" creationId="{F3250CF2-9D95-6945-BF55-2FAA93E215F5}"/>
          </ac:spMkLst>
        </pc:spChg>
      </pc:sldChg>
      <pc:sldChg chg="addSp delSp modSp add mod modClrScheme chgLayout">
        <pc:chgData name="Maximilian Maier" userId="2dea75bf-1e61-418a-9a4e-3c96e4410998" providerId="ADAL" clId="{E5FA7755-4464-4339-8923-4731CE90646D}" dt="2023-12-05T09:23:41.422" v="9290" actId="5793"/>
        <pc:sldMkLst>
          <pc:docMk/>
          <pc:sldMk cId="3531785857" sldId="2147478879"/>
        </pc:sldMkLst>
        <pc:spChg chg="mod ord">
          <ac:chgData name="Maximilian Maier" userId="2dea75bf-1e61-418a-9a4e-3c96e4410998" providerId="ADAL" clId="{E5FA7755-4464-4339-8923-4731CE90646D}" dt="2023-12-05T09:01:40.294" v="9254" actId="20577"/>
          <ac:spMkLst>
            <pc:docMk/>
            <pc:sldMk cId="3531785857" sldId="2147478879"/>
            <ac:spMk id="2" creationId="{D02EA3BB-9610-9535-7372-00F25D67FC13}"/>
          </ac:spMkLst>
        </pc:spChg>
        <pc:spChg chg="del">
          <ac:chgData name="Maximilian Maier" userId="2dea75bf-1e61-418a-9a4e-3c96e4410998" providerId="ADAL" clId="{E5FA7755-4464-4339-8923-4731CE90646D}" dt="2023-12-01T11:42:04.573" v="1323"/>
          <ac:spMkLst>
            <pc:docMk/>
            <pc:sldMk cId="3531785857" sldId="2147478879"/>
            <ac:spMk id="3" creationId="{9A376712-B125-DE39-3B08-D755A60E3B2C}"/>
          </ac:spMkLst>
        </pc:spChg>
        <pc:spChg chg="mod or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4" creationId="{17FB06A5-5789-2CF2-E31B-019DF8DBC062}"/>
          </ac:spMkLst>
        </pc:spChg>
        <pc:spChg chg="mod ord">
          <ac:chgData name="Maximilian Maier" userId="2dea75bf-1e61-418a-9a4e-3c96e4410998" providerId="ADAL" clId="{E5FA7755-4464-4339-8923-4731CE90646D}" dt="2023-12-05T09:23:41.422" v="9290" actId="5793"/>
          <ac:spMkLst>
            <pc:docMk/>
            <pc:sldMk cId="3531785857" sldId="2147478879"/>
            <ac:spMk id="5" creationId="{F3250CF2-9D95-6945-BF55-2FAA93E215F5}"/>
          </ac:spMkLst>
        </pc:spChg>
        <pc:spChg chg="add del mod">
          <ac:chgData name="Maximilian Maier" userId="2dea75bf-1e61-418a-9a4e-3c96e4410998" providerId="ADAL" clId="{E5FA7755-4464-4339-8923-4731CE90646D}" dt="2023-12-01T11:42:04.573" v="1323"/>
          <ac:spMkLst>
            <pc:docMk/>
            <pc:sldMk cId="3531785857" sldId="2147478879"/>
            <ac:spMk id="6" creationId="{500FA2DE-A778-E1E2-AF16-1098B762371A}"/>
          </ac:spMkLst>
        </pc:spChg>
        <pc:spChg chg="add del mod">
          <ac:chgData name="Maximilian Maier" userId="2dea75bf-1e61-418a-9a4e-3c96e4410998" providerId="ADAL" clId="{E5FA7755-4464-4339-8923-4731CE90646D}" dt="2023-12-01T11:42:04.573" v="1323"/>
          <ac:spMkLst>
            <pc:docMk/>
            <pc:sldMk cId="3531785857" sldId="2147478879"/>
            <ac:spMk id="7" creationId="{E16BBC26-4C7A-62F5-BD09-AA6698DB2D25}"/>
          </ac:spMkLst>
        </pc:spChg>
        <pc:spChg chg="add del mod">
          <ac:chgData name="Maximilian Maier" userId="2dea75bf-1e61-418a-9a4e-3c96e4410998" providerId="ADAL" clId="{E5FA7755-4464-4339-8923-4731CE90646D}" dt="2023-12-01T11:42:04.573" v="1323"/>
          <ac:spMkLst>
            <pc:docMk/>
            <pc:sldMk cId="3531785857" sldId="2147478879"/>
            <ac:spMk id="8" creationId="{3CDD16AA-E4AC-05FE-73BA-027ACA750B7F}"/>
          </ac:spMkLst>
        </pc:spChg>
        <pc:spChg chg="add del mod ord">
          <ac:chgData name="Maximilian Maier" userId="2dea75bf-1e61-418a-9a4e-3c96e4410998" providerId="ADAL" clId="{E5FA7755-4464-4339-8923-4731CE90646D}" dt="2023-12-01T11:45:39.931" v="1698" actId="700"/>
          <ac:spMkLst>
            <pc:docMk/>
            <pc:sldMk cId="3531785857" sldId="2147478879"/>
            <ac:spMk id="9" creationId="{A92CF76A-190F-402E-2711-367B70F9A868}"/>
          </ac:spMkLst>
        </pc:spChg>
        <pc:spChg chg="add del mod or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10" creationId="{58EDE9D8-4563-D878-87C1-E88D787D5EC0}"/>
          </ac:spMkLst>
        </pc:spChg>
        <pc:spChg chg="add del mo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11" creationId="{2FF6237A-0602-1504-4F38-8E815B7009E6}"/>
          </ac:spMkLst>
        </pc:spChg>
        <pc:spChg chg="add del mo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12" creationId="{E109EBEE-7688-062E-22A2-1FBC076E2F96}"/>
          </ac:spMkLst>
        </pc:spChg>
        <pc:spChg chg="add del mo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13" creationId="{31F4AB9A-DD7B-8BB5-231B-30C22B8C02C6}"/>
          </ac:spMkLst>
        </pc:spChg>
        <pc:spChg chg="add mod">
          <ac:chgData name="Maximilian Maier" userId="2dea75bf-1e61-418a-9a4e-3c96e4410998" providerId="ADAL" clId="{E5FA7755-4464-4339-8923-4731CE90646D}" dt="2023-12-01T11:45:47.919" v="1699"/>
          <ac:spMkLst>
            <pc:docMk/>
            <pc:sldMk cId="3531785857" sldId="2147478879"/>
            <ac:spMk id="14" creationId="{A6CFC373-3B03-DE60-5C5A-D6684A4FBA26}"/>
          </ac:spMkLst>
        </pc:spChg>
        <pc:picChg chg="add mod">
          <ac:chgData name="Maximilian Maier" userId="2dea75bf-1e61-418a-9a4e-3c96e4410998" providerId="ADAL" clId="{E5FA7755-4464-4339-8923-4731CE90646D}" dt="2023-12-04T09:21:17.110" v="2687" actId="27614"/>
          <ac:picMkLst>
            <pc:docMk/>
            <pc:sldMk cId="3531785857" sldId="2147478879"/>
            <ac:picMk id="6" creationId="{1A46D113-CD15-DB16-2E63-2F94C6967796}"/>
          </ac:picMkLst>
        </pc:picChg>
      </pc:sldChg>
      <pc:sldChg chg="addSp delSp modSp add mod modAnim">
        <pc:chgData name="Maximilian Maier" userId="2dea75bf-1e61-418a-9a4e-3c96e4410998" providerId="ADAL" clId="{E5FA7755-4464-4339-8923-4731CE90646D}" dt="2023-12-04T10:40:50.256" v="5396"/>
        <pc:sldMkLst>
          <pc:docMk/>
          <pc:sldMk cId="1597591328" sldId="2147478880"/>
        </pc:sldMkLst>
        <pc:spChg chg="mod">
          <ac:chgData name="Maximilian Maier" userId="2dea75bf-1e61-418a-9a4e-3c96e4410998" providerId="ADAL" clId="{E5FA7755-4464-4339-8923-4731CE90646D}" dt="2023-12-04T10:40:50.256" v="5396"/>
          <ac:spMkLst>
            <pc:docMk/>
            <pc:sldMk cId="1597591328" sldId="2147478880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1-30T10:56:21.722" v="885" actId="1076"/>
          <ac:spMkLst>
            <pc:docMk/>
            <pc:sldMk cId="1597591328" sldId="2147478880"/>
            <ac:spMk id="3" creationId="{9A376712-B125-DE39-3B08-D755A60E3B2C}"/>
          </ac:spMkLst>
        </pc:spChg>
        <pc:spChg chg="mod">
          <ac:chgData name="Maximilian Maier" userId="2dea75bf-1e61-418a-9a4e-3c96e4410998" providerId="ADAL" clId="{E5FA7755-4464-4339-8923-4731CE90646D}" dt="2023-11-30T10:56:53.464" v="893" actId="1076"/>
          <ac:spMkLst>
            <pc:docMk/>
            <pc:sldMk cId="1597591328" sldId="2147478880"/>
            <ac:spMk id="29" creationId="{FD783BBB-09D0-E008-0EEA-EC241F8878F8}"/>
          </ac:spMkLst>
        </pc:spChg>
        <pc:spChg chg="add del mod">
          <ac:chgData name="Maximilian Maier" userId="2dea75bf-1e61-418a-9a4e-3c96e4410998" providerId="ADAL" clId="{E5FA7755-4464-4339-8923-4731CE90646D}" dt="2023-11-30T10:56:53.464" v="893" actId="1076"/>
          <ac:spMkLst>
            <pc:docMk/>
            <pc:sldMk cId="1597591328" sldId="2147478880"/>
            <ac:spMk id="30" creationId="{C3F37F0A-5CA4-E434-69D7-E3EDA0D84627}"/>
          </ac:spMkLst>
        </pc:spChg>
        <pc:picChg chg="add mod">
          <ac:chgData name="Maximilian Maier" userId="2dea75bf-1e61-418a-9a4e-3c96e4410998" providerId="ADAL" clId="{E5FA7755-4464-4339-8923-4731CE90646D}" dt="2023-11-30T10:56:53.464" v="893" actId="1076"/>
          <ac:picMkLst>
            <pc:docMk/>
            <pc:sldMk cId="1597591328" sldId="2147478880"/>
            <ac:picMk id="5" creationId="{CFA1DA83-8AD1-082E-F598-D48E5D4C7A98}"/>
          </ac:picMkLst>
        </pc:picChg>
        <pc:picChg chg="add mod">
          <ac:chgData name="Maximilian Maier" userId="2dea75bf-1e61-418a-9a4e-3c96e4410998" providerId="ADAL" clId="{E5FA7755-4464-4339-8923-4731CE90646D}" dt="2023-12-01T11:09:29.913" v="916" actId="1076"/>
          <ac:picMkLst>
            <pc:docMk/>
            <pc:sldMk cId="1597591328" sldId="2147478880"/>
            <ac:picMk id="6" creationId="{3C1C6E8E-1830-8786-8415-33614637CFE2}"/>
          </ac:picMkLst>
        </pc:picChg>
        <pc:picChg chg="mod">
          <ac:chgData name="Maximilian Maier" userId="2dea75bf-1e61-418a-9a4e-3c96e4410998" providerId="ADAL" clId="{E5FA7755-4464-4339-8923-4731CE90646D}" dt="2023-12-01T11:10:50.567" v="927" actId="1076"/>
          <ac:picMkLst>
            <pc:docMk/>
            <pc:sldMk cId="1597591328" sldId="2147478880"/>
            <ac:picMk id="9" creationId="{C59F0845-969B-DC13-92D8-34809DE8246D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17" creationId="{3F3B4AA7-401B-1758-2AD3-904267116CB6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19" creationId="{1C025A6E-BF80-4790-4AC1-8178A7A84080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20" creationId="{0C34AA3C-9DF3-5CCA-F125-9128A76200AC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21" creationId="{DE7BE4EF-4C45-E28E-7269-4EEEA7769329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22" creationId="{EB42D889-F4DF-171B-6932-7B53BFF7A2B3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23" creationId="{16B2DD85-87D2-5308-6EC0-02CBCDF92966}"/>
          </ac:picMkLst>
        </pc:picChg>
        <pc:picChg chg="del">
          <ac:chgData name="Maximilian Maier" userId="2dea75bf-1e61-418a-9a4e-3c96e4410998" providerId="ADAL" clId="{E5FA7755-4464-4339-8923-4731CE90646D}" dt="2023-11-30T10:56:40.996" v="891" actId="478"/>
          <ac:picMkLst>
            <pc:docMk/>
            <pc:sldMk cId="1597591328" sldId="2147478880"/>
            <ac:picMk id="24" creationId="{613402FB-9843-3D23-EE03-8A973F77A058}"/>
          </ac:picMkLst>
        </pc:picChg>
        <pc:picChg chg="mod">
          <ac:chgData name="Maximilian Maier" userId="2dea75bf-1e61-418a-9a4e-3c96e4410998" providerId="ADAL" clId="{E5FA7755-4464-4339-8923-4731CE90646D}" dt="2023-11-30T10:56:53.464" v="893" actId="1076"/>
          <ac:picMkLst>
            <pc:docMk/>
            <pc:sldMk cId="1597591328" sldId="2147478880"/>
            <ac:picMk id="25" creationId="{EF088D8F-42A9-8AB4-36BA-ADDDDB4CACEC}"/>
          </ac:picMkLst>
        </pc:picChg>
        <pc:picChg chg="del">
          <ac:chgData name="Maximilian Maier" userId="2dea75bf-1e61-418a-9a4e-3c96e4410998" providerId="ADAL" clId="{E5FA7755-4464-4339-8923-4731CE90646D}" dt="2023-11-30T10:56:04.440" v="877" actId="478"/>
          <ac:picMkLst>
            <pc:docMk/>
            <pc:sldMk cId="1597591328" sldId="2147478880"/>
            <ac:picMk id="26" creationId="{C1570CE8-E761-1E07-D3F6-C83CA7672609}"/>
          </ac:picMkLst>
        </pc:picChg>
        <pc:picChg chg="mod ord">
          <ac:chgData name="Maximilian Maier" userId="2dea75bf-1e61-418a-9a4e-3c96e4410998" providerId="ADAL" clId="{E5FA7755-4464-4339-8923-4731CE90646D}" dt="2023-12-01T11:10:52.183" v="928" actId="167"/>
          <ac:picMkLst>
            <pc:docMk/>
            <pc:sldMk cId="1597591328" sldId="2147478880"/>
            <ac:picMk id="27" creationId="{7E561B84-DA1A-434B-D908-AE13B318F757}"/>
          </ac:picMkLst>
        </pc:picChg>
        <pc:picChg chg="mod">
          <ac:chgData name="Maximilian Maier" userId="2dea75bf-1e61-418a-9a4e-3c96e4410998" providerId="ADAL" clId="{E5FA7755-4464-4339-8923-4731CE90646D}" dt="2023-12-01T11:10:48.838" v="926" actId="1076"/>
          <ac:picMkLst>
            <pc:docMk/>
            <pc:sldMk cId="1597591328" sldId="2147478880"/>
            <ac:picMk id="28" creationId="{0AE49CAA-75C7-21AA-474F-1D444273DA79}"/>
          </ac:picMkLst>
        </pc:picChg>
      </pc:sldChg>
      <pc:sldChg chg="addSp delSp modSp add mod modClrScheme chgLayout">
        <pc:chgData name="Maximilian Maier" userId="2dea75bf-1e61-418a-9a4e-3c96e4410998" providerId="ADAL" clId="{E5FA7755-4464-4339-8923-4731CE90646D}" dt="2023-12-05T14:56:09.396" v="9573" actId="478"/>
        <pc:sldMkLst>
          <pc:docMk/>
          <pc:sldMk cId="3931443327" sldId="2147478881"/>
        </pc:sldMkLst>
        <pc:spChg chg="mod ord">
          <ac:chgData name="Maximilian Maier" userId="2dea75bf-1e61-418a-9a4e-3c96e4410998" providerId="ADAL" clId="{E5FA7755-4464-4339-8923-4731CE90646D}" dt="2023-12-05T09:16:18.781" v="9258"/>
          <ac:spMkLst>
            <pc:docMk/>
            <pc:sldMk cId="3931443327" sldId="2147478881"/>
            <ac:spMk id="2" creationId="{D02EA3BB-9610-9535-7372-00F25D67FC13}"/>
          </ac:spMkLst>
        </pc:spChg>
        <pc:spChg chg="mod ord">
          <ac:chgData name="Maximilian Maier" userId="2dea75bf-1e61-418a-9a4e-3c96e4410998" providerId="ADAL" clId="{E5FA7755-4464-4339-8923-4731CE90646D}" dt="2023-12-05T09:16:18.781" v="9258"/>
          <ac:spMkLst>
            <pc:docMk/>
            <pc:sldMk cId="3931443327" sldId="2147478881"/>
            <ac:spMk id="3" creationId="{9A376712-B125-DE39-3B08-D755A60E3B2C}"/>
          </ac:spMkLst>
        </pc:spChg>
        <pc:spChg chg="del mod ord">
          <ac:chgData name="Maximilian Maier" userId="2dea75bf-1e61-418a-9a4e-3c96e4410998" providerId="ADAL" clId="{E5FA7755-4464-4339-8923-4731CE90646D}" dt="2023-12-01T11:22:53.442" v="960" actId="700"/>
          <ac:spMkLst>
            <pc:docMk/>
            <pc:sldMk cId="3931443327" sldId="2147478881"/>
            <ac:spMk id="4" creationId="{17FB06A5-5789-2CF2-E31B-019DF8DBC062}"/>
          </ac:spMkLst>
        </pc:spChg>
        <pc:spChg chg="add del mod">
          <ac:chgData name="Maximilian Maier" userId="2dea75bf-1e61-418a-9a4e-3c96e4410998" providerId="ADAL" clId="{E5FA7755-4464-4339-8923-4731CE90646D}" dt="2023-12-05T09:16:18.781" v="9258"/>
          <ac:spMkLst>
            <pc:docMk/>
            <pc:sldMk cId="3931443327" sldId="2147478881"/>
            <ac:spMk id="4" creationId="{70664F26-A627-1F6C-F3C9-D23CDFE66A4E}"/>
          </ac:spMkLst>
        </pc:spChg>
        <pc:spChg chg="add del mod">
          <ac:chgData name="Maximilian Maier" userId="2dea75bf-1e61-418a-9a4e-3c96e4410998" providerId="ADAL" clId="{E5FA7755-4464-4339-8923-4731CE90646D}" dt="2023-12-05T14:54:27.015" v="9572" actId="478"/>
          <ac:spMkLst>
            <pc:docMk/>
            <pc:sldMk cId="3931443327" sldId="2147478881"/>
            <ac:spMk id="5" creationId="{3C8ED231-BC02-E24D-6C0D-62CBAE74437F}"/>
          </ac:spMkLst>
        </pc:spChg>
        <pc:spChg chg="add del mod">
          <ac:chgData name="Maximilian Maier" userId="2dea75bf-1e61-418a-9a4e-3c96e4410998" providerId="ADAL" clId="{E5FA7755-4464-4339-8923-4731CE90646D}" dt="2023-12-05T09:16:18.781" v="9258"/>
          <ac:spMkLst>
            <pc:docMk/>
            <pc:sldMk cId="3931443327" sldId="2147478881"/>
            <ac:spMk id="5" creationId="{84532F0C-4769-0044-F4B1-C2A842E0A495}"/>
          </ac:spMkLst>
        </pc:spChg>
        <pc:spChg chg="add mod">
          <ac:chgData name="Maximilian Maier" userId="2dea75bf-1e61-418a-9a4e-3c96e4410998" providerId="ADAL" clId="{E5FA7755-4464-4339-8923-4731CE90646D}" dt="2023-12-05T14:56:09.396" v="9573" actId="478"/>
          <ac:spMkLst>
            <pc:docMk/>
            <pc:sldMk cId="3931443327" sldId="2147478881"/>
            <ac:spMk id="5" creationId="{B95CEDFA-3991-C627-791F-34A937995121}"/>
          </ac:spMkLst>
        </pc:spChg>
        <pc:spChg chg="add del mod">
          <ac:chgData name="Maximilian Maier" userId="2dea75bf-1e61-418a-9a4e-3c96e4410998" providerId="ADAL" clId="{E5FA7755-4464-4339-8923-4731CE90646D}" dt="2023-12-05T09:16:18.781" v="9258"/>
          <ac:spMkLst>
            <pc:docMk/>
            <pc:sldMk cId="3931443327" sldId="2147478881"/>
            <ac:spMk id="7" creationId="{B47998CA-DDCF-D621-8754-588428B89429}"/>
          </ac:spMkLst>
        </pc:spChg>
        <pc:spChg chg="add del mod">
          <ac:chgData name="Maximilian Maier" userId="2dea75bf-1e61-418a-9a4e-3c96e4410998" providerId="ADAL" clId="{E5FA7755-4464-4339-8923-4731CE90646D}" dt="2023-12-01T11:22:24.121" v="948"/>
          <ac:spMkLst>
            <pc:docMk/>
            <pc:sldMk cId="3931443327" sldId="2147478881"/>
            <ac:spMk id="9" creationId="{991AE12C-5429-AE00-4830-1854CEBABE06}"/>
          </ac:spMkLst>
        </pc:spChg>
        <pc:spChg chg="add del mod">
          <ac:chgData name="Maximilian Maier" userId="2dea75bf-1e61-418a-9a4e-3c96e4410998" providerId="ADAL" clId="{E5FA7755-4464-4339-8923-4731CE90646D}" dt="2023-12-01T11:22:24.121" v="948"/>
          <ac:spMkLst>
            <pc:docMk/>
            <pc:sldMk cId="3931443327" sldId="2147478881"/>
            <ac:spMk id="10" creationId="{6ACC4EB2-2D8E-6F84-F621-63CC16C2E9BA}"/>
          </ac:spMkLst>
        </pc:spChg>
        <pc:spChg chg="add del mod">
          <ac:chgData name="Maximilian Maier" userId="2dea75bf-1e61-418a-9a4e-3c96e4410998" providerId="ADAL" clId="{E5FA7755-4464-4339-8923-4731CE90646D}" dt="2023-12-01T11:22:24.121" v="948"/>
          <ac:spMkLst>
            <pc:docMk/>
            <pc:sldMk cId="3931443327" sldId="2147478881"/>
            <ac:spMk id="12" creationId="{5D240EFE-FA6D-03B3-92DC-CBC4DDBCBD0A}"/>
          </ac:spMkLst>
        </pc:spChg>
        <pc:spChg chg="add del mod">
          <ac:chgData name="Maximilian Maier" userId="2dea75bf-1e61-418a-9a4e-3c96e4410998" providerId="ADAL" clId="{E5FA7755-4464-4339-8923-4731CE90646D}" dt="2023-11-30T11:11:56.297" v="912"/>
          <ac:spMkLst>
            <pc:docMk/>
            <pc:sldMk cId="3931443327" sldId="2147478881"/>
            <ac:spMk id="12" creationId="{F8921AC1-05B1-0670-4BD3-1522D71F42ED}"/>
          </ac:spMkLst>
        </pc:spChg>
        <pc:spChg chg="add del mod">
          <ac:chgData name="Maximilian Maier" userId="2dea75bf-1e61-418a-9a4e-3c96e4410998" providerId="ADAL" clId="{E5FA7755-4464-4339-8923-4731CE90646D}" dt="2023-11-30T11:11:56.297" v="912"/>
          <ac:spMkLst>
            <pc:docMk/>
            <pc:sldMk cId="3931443327" sldId="2147478881"/>
            <ac:spMk id="13" creationId="{DC49EB95-048C-E3EE-BBBE-F1444BA02D2A}"/>
          </ac:spMkLst>
        </pc:spChg>
        <pc:spChg chg="add del mod">
          <ac:chgData name="Maximilian Maier" userId="2dea75bf-1e61-418a-9a4e-3c96e4410998" providerId="ADAL" clId="{E5FA7755-4464-4339-8923-4731CE90646D}" dt="2023-12-01T11:22:24.121" v="948"/>
          <ac:spMkLst>
            <pc:docMk/>
            <pc:sldMk cId="3931443327" sldId="2147478881"/>
            <ac:spMk id="13" creationId="{E7716FE5-1B3D-4B70-9658-1EB3C074D40A}"/>
          </ac:spMkLst>
        </pc:spChg>
        <pc:spChg chg="add del mod">
          <ac:chgData name="Maximilian Maier" userId="2dea75bf-1e61-418a-9a4e-3c96e4410998" providerId="ADAL" clId="{E5FA7755-4464-4339-8923-4731CE90646D}" dt="2023-12-01T11:22:33.664" v="949"/>
          <ac:spMkLst>
            <pc:docMk/>
            <pc:sldMk cId="3931443327" sldId="2147478881"/>
            <ac:spMk id="14" creationId="{42913DF1-19F0-2F86-844D-90F951466071}"/>
          </ac:spMkLst>
        </pc:spChg>
        <pc:spChg chg="add del mod">
          <ac:chgData name="Maximilian Maier" userId="2dea75bf-1e61-418a-9a4e-3c96e4410998" providerId="ADAL" clId="{E5FA7755-4464-4339-8923-4731CE90646D}" dt="2023-11-30T11:11:56.297" v="912"/>
          <ac:spMkLst>
            <pc:docMk/>
            <pc:sldMk cId="3931443327" sldId="2147478881"/>
            <ac:spMk id="14" creationId="{6205F828-7B7F-ED72-55A2-46239BC7F376}"/>
          </ac:spMkLst>
        </pc:spChg>
        <pc:spChg chg="add del mod">
          <ac:chgData name="Maximilian Maier" userId="2dea75bf-1e61-418a-9a4e-3c96e4410998" providerId="ADAL" clId="{E5FA7755-4464-4339-8923-4731CE90646D}" dt="2023-12-01T11:19:44.810" v="931"/>
          <ac:spMkLst>
            <pc:docMk/>
            <pc:sldMk cId="3931443327" sldId="2147478881"/>
            <ac:spMk id="15" creationId="{3530D34F-7EE6-3146-8FC1-67AC2A2210F5}"/>
          </ac:spMkLst>
        </pc:spChg>
        <pc:spChg chg="add del mod">
          <ac:chgData name="Maximilian Maier" userId="2dea75bf-1e61-418a-9a4e-3c96e4410998" providerId="ADAL" clId="{E5FA7755-4464-4339-8923-4731CE90646D}" dt="2023-12-01T11:22:33.664" v="949"/>
          <ac:spMkLst>
            <pc:docMk/>
            <pc:sldMk cId="3931443327" sldId="2147478881"/>
            <ac:spMk id="16" creationId="{B2926B98-1881-B5C5-CFE6-4ED0EA414541}"/>
          </ac:spMkLst>
        </pc:spChg>
        <pc:spChg chg="add del mod">
          <ac:chgData name="Maximilian Maier" userId="2dea75bf-1e61-418a-9a4e-3c96e4410998" providerId="ADAL" clId="{E5FA7755-4464-4339-8923-4731CE90646D}" dt="2023-12-01T11:22:33.664" v="949"/>
          <ac:spMkLst>
            <pc:docMk/>
            <pc:sldMk cId="3931443327" sldId="2147478881"/>
            <ac:spMk id="17" creationId="{EFF81B62-D87A-AE2E-2EC2-3CBAAA111DAE}"/>
          </ac:spMkLst>
        </pc:spChg>
        <pc:spChg chg="add del mod">
          <ac:chgData name="Maximilian Maier" userId="2dea75bf-1e61-418a-9a4e-3c96e4410998" providerId="ADAL" clId="{E5FA7755-4464-4339-8923-4731CE90646D}" dt="2023-12-01T11:22:33.664" v="949"/>
          <ac:spMkLst>
            <pc:docMk/>
            <pc:sldMk cId="3931443327" sldId="2147478881"/>
            <ac:spMk id="18" creationId="{4BBEA8BB-249B-52C9-194C-58A173309C10}"/>
          </ac:spMkLst>
        </pc:spChg>
        <pc:spChg chg="add del mod">
          <ac:chgData name="Maximilian Maier" userId="2dea75bf-1e61-418a-9a4e-3c96e4410998" providerId="ADAL" clId="{E5FA7755-4464-4339-8923-4731CE90646D}" dt="2023-12-01T11:22:47.805" v="952"/>
          <ac:spMkLst>
            <pc:docMk/>
            <pc:sldMk cId="3931443327" sldId="2147478881"/>
            <ac:spMk id="19" creationId="{2B5B83D2-C969-0638-9E31-396A977E8126}"/>
          </ac:spMkLst>
        </pc:spChg>
        <pc:spChg chg="add del mod">
          <ac:chgData name="Maximilian Maier" userId="2dea75bf-1e61-418a-9a4e-3c96e4410998" providerId="ADAL" clId="{E5FA7755-4464-4339-8923-4731CE90646D}" dt="2023-12-01T11:22:47.805" v="952"/>
          <ac:spMkLst>
            <pc:docMk/>
            <pc:sldMk cId="3931443327" sldId="2147478881"/>
            <ac:spMk id="20" creationId="{88367E4B-FAB1-0ED3-CF36-8D494CEF8581}"/>
          </ac:spMkLst>
        </pc:spChg>
        <pc:spChg chg="add del mod">
          <ac:chgData name="Maximilian Maier" userId="2dea75bf-1e61-418a-9a4e-3c96e4410998" providerId="ADAL" clId="{E5FA7755-4464-4339-8923-4731CE90646D}" dt="2023-12-01T11:22:47.805" v="952"/>
          <ac:spMkLst>
            <pc:docMk/>
            <pc:sldMk cId="3931443327" sldId="2147478881"/>
            <ac:spMk id="21" creationId="{F0E43BA1-693A-3BDA-0D84-C2FDA5FCF210}"/>
          </ac:spMkLst>
        </pc:spChg>
        <pc:spChg chg="add del mod">
          <ac:chgData name="Maximilian Maier" userId="2dea75bf-1e61-418a-9a4e-3c96e4410998" providerId="ADAL" clId="{E5FA7755-4464-4339-8923-4731CE90646D}" dt="2023-12-01T11:22:47.805" v="952"/>
          <ac:spMkLst>
            <pc:docMk/>
            <pc:sldMk cId="3931443327" sldId="2147478881"/>
            <ac:spMk id="22" creationId="{038194ED-6784-9600-EEB9-00393C484CB8}"/>
          </ac:spMkLst>
        </pc:spChg>
        <pc:spChg chg="add del mod">
          <ac:chgData name="Maximilian Maier" userId="2dea75bf-1e61-418a-9a4e-3c96e4410998" providerId="ADAL" clId="{E5FA7755-4464-4339-8923-4731CE90646D}" dt="2023-12-01T11:22:47.958" v="953"/>
          <ac:spMkLst>
            <pc:docMk/>
            <pc:sldMk cId="3931443327" sldId="2147478881"/>
            <ac:spMk id="23" creationId="{33FBA7AB-7B00-4C3A-6F10-F5D023A2BA07}"/>
          </ac:spMkLst>
        </pc:spChg>
        <pc:spChg chg="add del mod">
          <ac:chgData name="Maximilian Maier" userId="2dea75bf-1e61-418a-9a4e-3c96e4410998" providerId="ADAL" clId="{E5FA7755-4464-4339-8923-4731CE90646D}" dt="2023-12-01T11:22:47.958" v="953"/>
          <ac:spMkLst>
            <pc:docMk/>
            <pc:sldMk cId="3931443327" sldId="2147478881"/>
            <ac:spMk id="24" creationId="{20662BD6-0A93-3FCD-DA7C-AE49DEFD689B}"/>
          </ac:spMkLst>
        </pc:spChg>
        <pc:spChg chg="add del mod">
          <ac:chgData name="Maximilian Maier" userId="2dea75bf-1e61-418a-9a4e-3c96e4410998" providerId="ADAL" clId="{E5FA7755-4464-4339-8923-4731CE90646D}" dt="2023-12-01T11:22:47.958" v="953"/>
          <ac:spMkLst>
            <pc:docMk/>
            <pc:sldMk cId="3931443327" sldId="2147478881"/>
            <ac:spMk id="25" creationId="{42E49BCC-D046-A703-738C-F74C5A530265}"/>
          </ac:spMkLst>
        </pc:spChg>
        <pc:spChg chg="add del mod">
          <ac:chgData name="Maximilian Maier" userId="2dea75bf-1e61-418a-9a4e-3c96e4410998" providerId="ADAL" clId="{E5FA7755-4464-4339-8923-4731CE90646D}" dt="2023-12-01T11:22:47.958" v="953"/>
          <ac:spMkLst>
            <pc:docMk/>
            <pc:sldMk cId="3931443327" sldId="2147478881"/>
            <ac:spMk id="26" creationId="{6047ED9E-0E0D-D34A-4235-F2176B26E03D}"/>
          </ac:spMkLst>
        </pc:spChg>
        <pc:spChg chg="add del mod">
          <ac:chgData name="Maximilian Maier" userId="2dea75bf-1e61-418a-9a4e-3c96e4410998" providerId="ADAL" clId="{E5FA7755-4464-4339-8923-4731CE90646D}" dt="2023-12-01T11:22:48.517" v="954"/>
          <ac:spMkLst>
            <pc:docMk/>
            <pc:sldMk cId="3931443327" sldId="2147478881"/>
            <ac:spMk id="27" creationId="{92AB8F80-683A-5E48-B236-FEDC3A750637}"/>
          </ac:spMkLst>
        </pc:spChg>
        <pc:spChg chg="add del mod">
          <ac:chgData name="Maximilian Maier" userId="2dea75bf-1e61-418a-9a4e-3c96e4410998" providerId="ADAL" clId="{E5FA7755-4464-4339-8923-4731CE90646D}" dt="2023-12-01T11:22:48.517" v="954"/>
          <ac:spMkLst>
            <pc:docMk/>
            <pc:sldMk cId="3931443327" sldId="2147478881"/>
            <ac:spMk id="28" creationId="{D7920377-9759-0AD3-7C94-3869ADBC75FD}"/>
          </ac:spMkLst>
        </pc:spChg>
        <pc:spChg chg="add del mod">
          <ac:chgData name="Maximilian Maier" userId="2dea75bf-1e61-418a-9a4e-3c96e4410998" providerId="ADAL" clId="{E5FA7755-4464-4339-8923-4731CE90646D}" dt="2023-12-01T11:22:48.517" v="954"/>
          <ac:spMkLst>
            <pc:docMk/>
            <pc:sldMk cId="3931443327" sldId="2147478881"/>
            <ac:spMk id="29" creationId="{3F0202B9-0CCB-E98D-B048-103BFB576579}"/>
          </ac:spMkLst>
        </pc:spChg>
        <pc:spChg chg="del">
          <ac:chgData name="Maximilian Maier" userId="2dea75bf-1e61-418a-9a4e-3c96e4410998" providerId="ADAL" clId="{E5FA7755-4464-4339-8923-4731CE90646D}" dt="2023-11-30T11:11:39.757" v="903" actId="478"/>
          <ac:spMkLst>
            <pc:docMk/>
            <pc:sldMk cId="3931443327" sldId="2147478881"/>
            <ac:spMk id="29" creationId="{FD783BBB-09D0-E008-0EEA-EC241F8878F8}"/>
          </ac:spMkLst>
        </pc:spChg>
        <pc:spChg chg="add del mod">
          <ac:chgData name="Maximilian Maier" userId="2dea75bf-1e61-418a-9a4e-3c96e4410998" providerId="ADAL" clId="{E5FA7755-4464-4339-8923-4731CE90646D}" dt="2023-12-01T11:22:48.517" v="954"/>
          <ac:spMkLst>
            <pc:docMk/>
            <pc:sldMk cId="3931443327" sldId="2147478881"/>
            <ac:spMk id="30" creationId="{6FEC7E35-D678-088F-2D04-D4A4191B6817}"/>
          </ac:spMkLst>
        </pc:spChg>
        <pc:spChg chg="del">
          <ac:chgData name="Maximilian Maier" userId="2dea75bf-1e61-418a-9a4e-3c96e4410998" providerId="ADAL" clId="{E5FA7755-4464-4339-8923-4731CE90646D}" dt="2023-11-30T11:11:39.757" v="903" actId="478"/>
          <ac:spMkLst>
            <pc:docMk/>
            <pc:sldMk cId="3931443327" sldId="2147478881"/>
            <ac:spMk id="30" creationId="{C3F37F0A-5CA4-E434-69D7-E3EDA0D84627}"/>
          </ac:spMkLst>
        </pc:spChg>
        <pc:spChg chg="add del mod">
          <ac:chgData name="Maximilian Maier" userId="2dea75bf-1e61-418a-9a4e-3c96e4410998" providerId="ADAL" clId="{E5FA7755-4464-4339-8923-4731CE90646D}" dt="2023-12-01T11:22:48.524" v="955"/>
          <ac:spMkLst>
            <pc:docMk/>
            <pc:sldMk cId="3931443327" sldId="2147478881"/>
            <ac:spMk id="31" creationId="{620E5C23-9C14-38FC-19C5-0A126DB6BC37}"/>
          </ac:spMkLst>
        </pc:spChg>
        <pc:spChg chg="add del mod">
          <ac:chgData name="Maximilian Maier" userId="2dea75bf-1e61-418a-9a4e-3c96e4410998" providerId="ADAL" clId="{E5FA7755-4464-4339-8923-4731CE90646D}" dt="2023-12-01T11:22:48.524" v="955"/>
          <ac:spMkLst>
            <pc:docMk/>
            <pc:sldMk cId="3931443327" sldId="2147478881"/>
            <ac:spMk id="32" creationId="{5678A6C2-C707-1D19-0FEC-6BD40031E6E9}"/>
          </ac:spMkLst>
        </pc:spChg>
        <pc:spChg chg="add del mod">
          <ac:chgData name="Maximilian Maier" userId="2dea75bf-1e61-418a-9a4e-3c96e4410998" providerId="ADAL" clId="{E5FA7755-4464-4339-8923-4731CE90646D}" dt="2023-12-01T11:22:48.524" v="955"/>
          <ac:spMkLst>
            <pc:docMk/>
            <pc:sldMk cId="3931443327" sldId="2147478881"/>
            <ac:spMk id="33" creationId="{678F55DB-6502-CA4C-2EC1-2A90B90264EA}"/>
          </ac:spMkLst>
        </pc:spChg>
        <pc:spChg chg="add del mod">
          <ac:chgData name="Maximilian Maier" userId="2dea75bf-1e61-418a-9a4e-3c96e4410998" providerId="ADAL" clId="{E5FA7755-4464-4339-8923-4731CE90646D}" dt="2023-12-01T11:22:48.524" v="955"/>
          <ac:spMkLst>
            <pc:docMk/>
            <pc:sldMk cId="3931443327" sldId="2147478881"/>
            <ac:spMk id="34" creationId="{070BA3F1-7662-B2F8-BC2B-CF2652CA98A8}"/>
          </ac:spMkLst>
        </pc:spChg>
        <pc:spChg chg="add mod ord">
          <ac:chgData name="Maximilian Maier" userId="2dea75bf-1e61-418a-9a4e-3c96e4410998" providerId="ADAL" clId="{E5FA7755-4464-4339-8923-4731CE90646D}" dt="2023-12-05T09:16:22.613" v="9259" actId="1076"/>
          <ac:spMkLst>
            <pc:docMk/>
            <pc:sldMk cId="3931443327" sldId="2147478881"/>
            <ac:spMk id="35" creationId="{8F110E3D-110F-05F6-A56F-41D44D3ECFD4}"/>
          </ac:spMkLst>
        </pc:spChg>
        <pc:spChg chg="add del mod">
          <ac:chgData name="Maximilian Maier" userId="2dea75bf-1e61-418a-9a4e-3c96e4410998" providerId="ADAL" clId="{E5FA7755-4464-4339-8923-4731CE90646D}" dt="2023-12-01T11:23:07.357" v="973"/>
          <ac:spMkLst>
            <pc:docMk/>
            <pc:sldMk cId="3931443327" sldId="2147478881"/>
            <ac:spMk id="36" creationId="{35306D98-26B6-2BBE-7FDF-577594418BD7}"/>
          </ac:spMkLst>
        </pc:spChg>
        <pc:spChg chg="add del mod">
          <ac:chgData name="Maximilian Maier" userId="2dea75bf-1e61-418a-9a4e-3c96e4410998" providerId="ADAL" clId="{E5FA7755-4464-4339-8923-4731CE90646D}" dt="2023-12-01T11:23:07.357" v="973"/>
          <ac:spMkLst>
            <pc:docMk/>
            <pc:sldMk cId="3931443327" sldId="2147478881"/>
            <ac:spMk id="37" creationId="{847E849F-C09E-BB5B-FEE9-759EA2276D80}"/>
          </ac:spMkLst>
        </pc:spChg>
        <pc:spChg chg="add del mod">
          <ac:chgData name="Maximilian Maier" userId="2dea75bf-1e61-418a-9a4e-3c96e4410998" providerId="ADAL" clId="{E5FA7755-4464-4339-8923-4731CE90646D}" dt="2023-12-01T11:23:07.357" v="973"/>
          <ac:spMkLst>
            <pc:docMk/>
            <pc:sldMk cId="3931443327" sldId="2147478881"/>
            <ac:spMk id="38" creationId="{C9F1C02C-AD4A-AAA4-C944-4E21EC395B34}"/>
          </ac:spMkLst>
        </pc:spChg>
        <pc:spChg chg="add del mod">
          <ac:chgData name="Maximilian Maier" userId="2dea75bf-1e61-418a-9a4e-3c96e4410998" providerId="ADAL" clId="{E5FA7755-4464-4339-8923-4731CE90646D}" dt="2023-12-01T11:23:07.357" v="973"/>
          <ac:spMkLst>
            <pc:docMk/>
            <pc:sldMk cId="3931443327" sldId="2147478881"/>
            <ac:spMk id="39" creationId="{DF88BD51-18A2-45B4-7601-66F33AB60D6D}"/>
          </ac:spMkLst>
        </pc:spChg>
        <pc:spChg chg="add del mod">
          <ac:chgData name="Maximilian Maier" userId="2dea75bf-1e61-418a-9a4e-3c96e4410998" providerId="ADAL" clId="{E5FA7755-4464-4339-8923-4731CE90646D}" dt="2023-12-01T11:23:10.536" v="975"/>
          <ac:spMkLst>
            <pc:docMk/>
            <pc:sldMk cId="3931443327" sldId="2147478881"/>
            <ac:spMk id="40" creationId="{B40022D3-9660-0688-9FB5-D1DA6E144933}"/>
          </ac:spMkLst>
        </pc:spChg>
        <pc:spChg chg="add del mod">
          <ac:chgData name="Maximilian Maier" userId="2dea75bf-1e61-418a-9a4e-3c96e4410998" providerId="ADAL" clId="{E5FA7755-4464-4339-8923-4731CE90646D}" dt="2023-12-01T11:23:10.536" v="975"/>
          <ac:spMkLst>
            <pc:docMk/>
            <pc:sldMk cId="3931443327" sldId="2147478881"/>
            <ac:spMk id="41" creationId="{FC524998-9D9E-8E01-A1E9-C03477814B6F}"/>
          </ac:spMkLst>
        </pc:spChg>
        <pc:spChg chg="add del mod">
          <ac:chgData name="Maximilian Maier" userId="2dea75bf-1e61-418a-9a4e-3c96e4410998" providerId="ADAL" clId="{E5FA7755-4464-4339-8923-4731CE90646D}" dt="2023-12-01T11:23:10.536" v="975"/>
          <ac:spMkLst>
            <pc:docMk/>
            <pc:sldMk cId="3931443327" sldId="2147478881"/>
            <ac:spMk id="42" creationId="{EBF9083B-8F4F-8017-7668-E4002325CA2C}"/>
          </ac:spMkLst>
        </pc:spChg>
        <pc:picChg chg="del">
          <ac:chgData name="Maximilian Maier" userId="2dea75bf-1e61-418a-9a4e-3c96e4410998" providerId="ADAL" clId="{E5FA7755-4464-4339-8923-4731CE90646D}" dt="2023-11-30T11:11:40.605" v="904" actId="478"/>
          <ac:picMkLst>
            <pc:docMk/>
            <pc:sldMk cId="3931443327" sldId="2147478881"/>
            <ac:picMk id="5" creationId="{CFA1DA83-8AD1-082E-F598-D48E5D4C7A98}"/>
          </ac:picMkLst>
        </pc:picChg>
        <pc:picChg chg="del">
          <ac:chgData name="Maximilian Maier" userId="2dea75bf-1e61-418a-9a4e-3c96e4410998" providerId="ADAL" clId="{E5FA7755-4464-4339-8923-4731CE90646D}" dt="2023-11-30T11:11:39.757" v="903" actId="478"/>
          <ac:picMkLst>
            <pc:docMk/>
            <pc:sldMk cId="3931443327" sldId="2147478881"/>
            <ac:picMk id="6" creationId="{3C1C6E8E-1830-8786-8415-33614637CFE2}"/>
          </ac:picMkLst>
        </pc:picChg>
        <pc:picChg chg="add del mod ord">
          <ac:chgData name="Maximilian Maier" userId="2dea75bf-1e61-418a-9a4e-3c96e4410998" providerId="ADAL" clId="{E5FA7755-4464-4339-8923-4731CE90646D}" dt="2023-12-05T14:56:09.396" v="9573" actId="478"/>
          <ac:picMkLst>
            <pc:docMk/>
            <pc:sldMk cId="3931443327" sldId="2147478881"/>
            <ac:picMk id="6" creationId="{BDAF34D2-5F0E-E794-57A5-21AB11261AFC}"/>
          </ac:picMkLst>
        </pc:picChg>
        <pc:picChg chg="add del mod">
          <ac:chgData name="Maximilian Maier" userId="2dea75bf-1e61-418a-9a4e-3c96e4410998" providerId="ADAL" clId="{E5FA7755-4464-4339-8923-4731CE90646D}" dt="2023-11-30T11:11:47.738" v="906" actId="478"/>
          <ac:picMkLst>
            <pc:docMk/>
            <pc:sldMk cId="3931443327" sldId="2147478881"/>
            <ac:picMk id="8" creationId="{B46E4628-6004-FC26-1A23-2B352E8A2AA1}"/>
          </ac:picMkLst>
        </pc:picChg>
        <pc:picChg chg="add del mod">
          <ac:chgData name="Maximilian Maier" userId="2dea75bf-1e61-418a-9a4e-3c96e4410998" providerId="ADAL" clId="{E5FA7755-4464-4339-8923-4731CE90646D}" dt="2023-12-04T10:39:32.176" v="5365" actId="478"/>
          <ac:picMkLst>
            <pc:docMk/>
            <pc:sldMk cId="3931443327" sldId="2147478881"/>
            <ac:picMk id="8" creationId="{F93A0CD3-A2AE-DB2B-898C-52C95D124A5D}"/>
          </ac:picMkLst>
        </pc:picChg>
        <pc:picChg chg="del">
          <ac:chgData name="Maximilian Maier" userId="2dea75bf-1e61-418a-9a4e-3c96e4410998" providerId="ADAL" clId="{E5FA7755-4464-4339-8923-4731CE90646D}" dt="2023-11-30T11:11:39.757" v="903" actId="478"/>
          <ac:picMkLst>
            <pc:docMk/>
            <pc:sldMk cId="3931443327" sldId="2147478881"/>
            <ac:picMk id="9" creationId="{C59F0845-969B-DC13-92D8-34809DE8246D}"/>
          </ac:picMkLst>
        </pc:picChg>
        <pc:picChg chg="add mod ord">
          <ac:chgData name="Maximilian Maier" userId="2dea75bf-1e61-418a-9a4e-3c96e4410998" providerId="ADAL" clId="{E5FA7755-4464-4339-8923-4731CE90646D}" dt="2023-12-04T10:39:43.073" v="5369" actId="1076"/>
          <ac:picMkLst>
            <pc:docMk/>
            <pc:sldMk cId="3931443327" sldId="2147478881"/>
            <ac:picMk id="11" creationId="{1BDF319F-0B39-7785-20AE-4E2C93DFEF18}"/>
          </ac:picMkLst>
        </pc:picChg>
        <pc:picChg chg="del">
          <ac:chgData name="Maximilian Maier" userId="2dea75bf-1e61-418a-9a4e-3c96e4410998" providerId="ADAL" clId="{E5FA7755-4464-4339-8923-4731CE90646D}" dt="2023-11-30T11:11:39.757" v="903" actId="478"/>
          <ac:picMkLst>
            <pc:docMk/>
            <pc:sldMk cId="3931443327" sldId="2147478881"/>
            <ac:picMk id="25" creationId="{EF088D8F-42A9-8AB4-36BA-ADDDDB4CACEC}"/>
          </ac:picMkLst>
        </pc:picChg>
        <pc:picChg chg="del">
          <ac:chgData name="Maximilian Maier" userId="2dea75bf-1e61-418a-9a4e-3c96e4410998" providerId="ADAL" clId="{E5FA7755-4464-4339-8923-4731CE90646D}" dt="2023-11-30T11:11:39.757" v="903" actId="478"/>
          <ac:picMkLst>
            <pc:docMk/>
            <pc:sldMk cId="3931443327" sldId="2147478881"/>
            <ac:picMk id="27" creationId="{7E561B84-DA1A-434B-D908-AE13B318F757}"/>
          </ac:picMkLst>
        </pc:picChg>
        <pc:picChg chg="del">
          <ac:chgData name="Maximilian Maier" userId="2dea75bf-1e61-418a-9a4e-3c96e4410998" providerId="ADAL" clId="{E5FA7755-4464-4339-8923-4731CE90646D}" dt="2023-11-30T11:11:39.757" v="903" actId="478"/>
          <ac:picMkLst>
            <pc:docMk/>
            <pc:sldMk cId="3931443327" sldId="2147478881"/>
            <ac:picMk id="28" creationId="{0AE49CAA-75C7-21AA-474F-1D444273DA79}"/>
          </ac:picMkLst>
        </pc:picChg>
      </pc:sldChg>
      <pc:sldChg chg="addSp delSp modSp add del mod modAnim">
        <pc:chgData name="Maximilian Maier" userId="2dea75bf-1e61-418a-9a4e-3c96e4410998" providerId="ADAL" clId="{E5FA7755-4464-4339-8923-4731CE90646D}" dt="2023-12-04T09:26:15.225" v="2725" actId="47"/>
        <pc:sldMkLst>
          <pc:docMk/>
          <pc:sldMk cId="224049664" sldId="2147478882"/>
        </pc:sldMkLst>
        <pc:spChg chg="del">
          <ac:chgData name="Maximilian Maier" userId="2dea75bf-1e61-418a-9a4e-3c96e4410998" providerId="ADAL" clId="{E5FA7755-4464-4339-8923-4731CE90646D}" dt="2023-12-01T11:53:05.929" v="2153"/>
          <ac:spMkLst>
            <pc:docMk/>
            <pc:sldMk cId="224049664" sldId="2147478882"/>
            <ac:spMk id="2" creationId="{06636C5F-4E8A-9D4A-01ED-4CCE273A26B4}"/>
          </ac:spMkLst>
        </pc:spChg>
        <pc:spChg chg="del">
          <ac:chgData name="Maximilian Maier" userId="2dea75bf-1e61-418a-9a4e-3c96e4410998" providerId="ADAL" clId="{E5FA7755-4464-4339-8923-4731CE90646D}" dt="2023-12-01T11:53:05.929" v="2153"/>
          <ac:spMkLst>
            <pc:docMk/>
            <pc:sldMk cId="224049664" sldId="2147478882"/>
            <ac:spMk id="52" creationId="{E2717A13-D434-E991-BC35-09F70D79A8D8}"/>
          </ac:spMkLst>
        </pc:spChg>
        <pc:spChg chg="add mod">
          <ac:chgData name="Maximilian Maier" userId="2dea75bf-1e61-418a-9a4e-3c96e4410998" providerId="ADAL" clId="{E5FA7755-4464-4339-8923-4731CE90646D}" dt="2023-12-01T11:53:28.653" v="2199"/>
          <ac:spMkLst>
            <pc:docMk/>
            <pc:sldMk cId="224049664" sldId="2147478882"/>
            <ac:spMk id="53" creationId="{FAA432B5-9C8D-2B72-6736-399CD575CC2A}"/>
          </ac:spMkLst>
        </pc:spChg>
        <pc:spChg chg="add del mod">
          <ac:chgData name="Maximilian Maier" userId="2dea75bf-1e61-418a-9a4e-3c96e4410998" providerId="ADAL" clId="{E5FA7755-4464-4339-8923-4731CE90646D}" dt="2023-12-01T11:53:28.653" v="2199"/>
          <ac:spMkLst>
            <pc:docMk/>
            <pc:sldMk cId="224049664" sldId="2147478882"/>
            <ac:spMk id="54" creationId="{06F099E7-4B95-CBE1-FB64-942915CCAEE9}"/>
          </ac:spMkLst>
        </pc:spChg>
        <pc:spChg chg="add del mod">
          <ac:chgData name="Maximilian Maier" userId="2dea75bf-1e61-418a-9a4e-3c96e4410998" providerId="ADAL" clId="{E5FA7755-4464-4339-8923-4731CE90646D}" dt="2023-12-01T11:53:28.653" v="2199"/>
          <ac:spMkLst>
            <pc:docMk/>
            <pc:sldMk cId="224049664" sldId="2147478882"/>
            <ac:spMk id="55" creationId="{ABA2E9AC-9A9E-1229-932F-D6F376B78D5A}"/>
          </ac:spMkLst>
        </pc:spChg>
        <pc:spChg chg="add del mod">
          <ac:chgData name="Maximilian Maier" userId="2dea75bf-1e61-418a-9a4e-3c96e4410998" providerId="ADAL" clId="{E5FA7755-4464-4339-8923-4731CE90646D}" dt="2023-12-01T11:53:28.653" v="2199"/>
          <ac:spMkLst>
            <pc:docMk/>
            <pc:sldMk cId="224049664" sldId="2147478882"/>
            <ac:spMk id="56" creationId="{265EFF4E-04F9-BA9D-C7B6-2E5929A7355B}"/>
          </ac:spMkLst>
        </pc:spChg>
        <pc:spChg chg="add mod">
          <ac:chgData name="Maximilian Maier" userId="2dea75bf-1e61-418a-9a4e-3c96e4410998" providerId="ADAL" clId="{E5FA7755-4464-4339-8923-4731CE90646D}" dt="2023-12-01T11:53:28.653" v="2199"/>
          <ac:spMkLst>
            <pc:docMk/>
            <pc:sldMk cId="224049664" sldId="2147478882"/>
            <ac:spMk id="57" creationId="{7F99B5FB-E8F7-3AA6-0B52-68E5FCAC7C63}"/>
          </ac:spMkLst>
        </pc:spChg>
        <pc:spChg chg="add del mod">
          <ac:chgData name="Maximilian Maier" userId="2dea75bf-1e61-418a-9a4e-3c96e4410998" providerId="ADAL" clId="{E5FA7755-4464-4339-8923-4731CE90646D}" dt="2023-12-04T09:21:33.863" v="2689" actId="478"/>
          <ac:spMkLst>
            <pc:docMk/>
            <pc:sldMk cId="224049664" sldId="2147478882"/>
            <ac:spMk id="58" creationId="{61C3FEB5-9B70-3F25-1ACA-AC93BFE20B52}"/>
          </ac:spMkLst>
        </pc:spChg>
        <pc:grpChg chg="mod">
          <ac:chgData name="Maximilian Maier" userId="2dea75bf-1e61-418a-9a4e-3c96e4410998" providerId="ADAL" clId="{E5FA7755-4464-4339-8923-4731CE90646D}" dt="2023-12-04T09:23:20.089" v="2700" actId="1076"/>
          <ac:grpSpMkLst>
            <pc:docMk/>
            <pc:sldMk cId="224049664" sldId="2147478882"/>
            <ac:grpSpMk id="13" creationId="{665B5761-0DFB-1925-55EF-88F0336AF41C}"/>
          </ac:grpSpMkLst>
        </pc:grpChg>
      </pc:sldChg>
      <pc:sldChg chg="addSp delSp modSp add del mod">
        <pc:chgData name="Maximilian Maier" userId="2dea75bf-1e61-418a-9a4e-3c96e4410998" providerId="ADAL" clId="{E5FA7755-4464-4339-8923-4731CE90646D}" dt="2023-12-01T11:44:33.665" v="1525" actId="47"/>
        <pc:sldMkLst>
          <pc:docMk/>
          <pc:sldMk cId="476850705" sldId="2147478882"/>
        </pc:sldMkLst>
        <pc:spChg chg="mod">
          <ac:chgData name="Maximilian Maier" userId="2dea75bf-1e61-418a-9a4e-3c96e4410998" providerId="ADAL" clId="{E5FA7755-4464-4339-8923-4731CE90646D}" dt="2023-12-01T11:44:13.370" v="1499" actId="1076"/>
          <ac:spMkLst>
            <pc:docMk/>
            <pc:sldMk cId="476850705" sldId="2147478882"/>
            <ac:spMk id="3" creationId="{A4A57F28-0ECC-DE60-0133-FAFA41F556DD}"/>
          </ac:spMkLst>
        </pc:spChg>
        <pc:spChg chg="del topLvl">
          <ac:chgData name="Maximilian Maier" userId="2dea75bf-1e61-418a-9a4e-3c96e4410998" providerId="ADAL" clId="{E5FA7755-4464-4339-8923-4731CE90646D}" dt="2023-12-01T11:43:32.610" v="1491" actId="478"/>
          <ac:spMkLst>
            <pc:docMk/>
            <pc:sldMk cId="476850705" sldId="2147478882"/>
            <ac:spMk id="5" creationId="{44F49161-A198-7C19-7B93-F9D152C76FAE}"/>
          </ac:spMkLst>
        </pc:spChg>
        <pc:spChg chg="add mod">
          <ac:chgData name="Maximilian Maier" userId="2dea75bf-1e61-418a-9a4e-3c96e4410998" providerId="ADAL" clId="{E5FA7755-4464-4339-8923-4731CE90646D}" dt="2023-12-01T11:44:07.673" v="1498" actId="478"/>
          <ac:spMkLst>
            <pc:docMk/>
            <pc:sldMk cId="476850705" sldId="2147478882"/>
            <ac:spMk id="7" creationId="{51A0BB7D-19F4-2AD5-C759-E0DB5EEFEC30}"/>
          </ac:spMkLst>
        </pc:spChg>
        <pc:spChg chg="mod">
          <ac:chgData name="Maximilian Maier" userId="2dea75bf-1e61-418a-9a4e-3c96e4410998" providerId="ADAL" clId="{E5FA7755-4464-4339-8923-4731CE90646D}" dt="2023-12-01T11:44:25.009" v="1524" actId="6549"/>
          <ac:spMkLst>
            <pc:docMk/>
            <pc:sldMk cId="476850705" sldId="2147478882"/>
            <ac:spMk id="9" creationId="{384AA3C3-7D0B-DE05-CC8D-6E924FC5F7AA}"/>
          </ac:spMkLst>
        </pc:spChg>
        <pc:grpChg chg="del">
          <ac:chgData name="Maximilian Maier" userId="2dea75bf-1e61-418a-9a4e-3c96e4410998" providerId="ADAL" clId="{E5FA7755-4464-4339-8923-4731CE90646D}" dt="2023-12-01T11:43:32.610" v="1491" actId="478"/>
          <ac:grpSpMkLst>
            <pc:docMk/>
            <pc:sldMk cId="476850705" sldId="2147478882"/>
            <ac:grpSpMk id="4" creationId="{DA1CB079-4603-C2DA-FF0A-912C108D2605}"/>
          </ac:grpSpMkLst>
        </pc:grpChg>
        <pc:picChg chg="del">
          <ac:chgData name="Maximilian Maier" userId="2dea75bf-1e61-418a-9a4e-3c96e4410998" providerId="ADAL" clId="{E5FA7755-4464-4339-8923-4731CE90646D}" dt="2023-12-01T11:44:07.673" v="1498" actId="478"/>
          <ac:picMkLst>
            <pc:docMk/>
            <pc:sldMk cId="476850705" sldId="2147478882"/>
            <ac:picMk id="13" creationId="{86F8DC57-A95C-D8D1-564A-5B66D28FAF25}"/>
          </ac:picMkLst>
        </pc:picChg>
        <pc:cxnChg chg="del topLvl">
          <ac:chgData name="Maximilian Maier" userId="2dea75bf-1e61-418a-9a4e-3c96e4410998" providerId="ADAL" clId="{E5FA7755-4464-4339-8923-4731CE90646D}" dt="2023-12-01T11:43:51.317" v="1494" actId="478"/>
          <ac:cxnSpMkLst>
            <pc:docMk/>
            <pc:sldMk cId="476850705" sldId="2147478882"/>
            <ac:cxnSpMk id="6" creationId="{F4FDFAAB-06DA-1ABE-5479-D538DE2D9A49}"/>
          </ac:cxnSpMkLst>
        </pc:cxnChg>
      </pc:sldChg>
      <pc:sldChg chg="addSp delSp modSp add mod ord modClrScheme addAnim delAnim chgLayout">
        <pc:chgData name="Maximilian Maier" userId="2dea75bf-1e61-418a-9a4e-3c96e4410998" providerId="ADAL" clId="{E5FA7755-4464-4339-8923-4731CE90646D}" dt="2023-12-04T15:00:13.169" v="9147" actId="1076"/>
        <pc:sldMkLst>
          <pc:docMk/>
          <pc:sldMk cId="694664240" sldId="2147478882"/>
        </pc:sldMkLst>
        <pc:spChg chg="mod ord">
          <ac:chgData name="Maximilian Maier" userId="2dea75bf-1e61-418a-9a4e-3c96e4410998" providerId="ADAL" clId="{E5FA7755-4464-4339-8923-4731CE90646D}" dt="2023-12-04T10:05:59.176" v="3037" actId="20577"/>
          <ac:spMkLst>
            <pc:docMk/>
            <pc:sldMk cId="694664240" sldId="2147478882"/>
            <ac:spMk id="2" creationId="{44426543-2C22-02DB-0574-BCBC6D55D92E}"/>
          </ac:spMkLst>
        </pc:spChg>
        <pc:spChg chg="add del mod">
          <ac:chgData name="Maximilian Maier" userId="2dea75bf-1e61-418a-9a4e-3c96e4410998" providerId="ADAL" clId="{E5FA7755-4464-4339-8923-4731CE90646D}" dt="2023-12-04T15:00:10.618" v="9145" actId="478"/>
          <ac:spMkLst>
            <pc:docMk/>
            <pc:sldMk cId="694664240" sldId="2147478882"/>
            <ac:spMk id="3" creationId="{A75B276B-B634-CA19-DEBD-3177F858EF2C}"/>
          </ac:spMkLst>
        </pc:spChg>
        <pc:spChg chg="mod">
          <ac:chgData name="Maximilian Maier" userId="2dea75bf-1e61-418a-9a4e-3c96e4410998" providerId="ADAL" clId="{E5FA7755-4464-4339-8923-4731CE90646D}" dt="2023-12-04T10:21:34.700" v="3724" actId="1076"/>
          <ac:spMkLst>
            <pc:docMk/>
            <pc:sldMk cId="694664240" sldId="2147478882"/>
            <ac:spMk id="5" creationId="{CE822913-50B8-4130-B7EF-6ECAE7806304}"/>
          </ac:spMkLst>
        </pc:spChg>
        <pc:spChg chg="mod">
          <ac:chgData name="Maximilian Maier" userId="2dea75bf-1e61-418a-9a4e-3c96e4410998" providerId="ADAL" clId="{E5FA7755-4464-4339-8923-4731CE90646D}" dt="2023-12-04T10:08:51.155" v="3110" actId="6549"/>
          <ac:spMkLst>
            <pc:docMk/>
            <pc:sldMk cId="694664240" sldId="2147478882"/>
            <ac:spMk id="8" creationId="{E991FCD0-476B-4BFE-8B52-7080D9832F54}"/>
          </ac:spMkLst>
        </pc:spChg>
        <pc:spChg chg="add del mod">
          <ac:chgData name="Maximilian Maier" userId="2dea75bf-1e61-418a-9a4e-3c96e4410998" providerId="ADAL" clId="{E5FA7755-4464-4339-8923-4731CE90646D}" dt="2023-12-04T15:00:10.618" v="9145" actId="478"/>
          <ac:spMkLst>
            <pc:docMk/>
            <pc:sldMk cId="694664240" sldId="2147478882"/>
            <ac:spMk id="9" creationId="{B945C088-4895-C3D3-CB88-F149793F264E}"/>
          </ac:spMkLst>
        </pc:spChg>
        <pc:spChg chg="add del mod">
          <ac:chgData name="Maximilian Maier" userId="2dea75bf-1e61-418a-9a4e-3c96e4410998" providerId="ADAL" clId="{E5FA7755-4464-4339-8923-4731CE90646D}" dt="2023-12-04T15:00:10.618" v="9145" actId="478"/>
          <ac:spMkLst>
            <pc:docMk/>
            <pc:sldMk cId="694664240" sldId="2147478882"/>
            <ac:spMk id="11" creationId="{2FC5D428-51BE-7B47-D9A5-A686C94CA2E9}"/>
          </ac:spMkLst>
        </pc:spChg>
        <pc:spChg chg="add del mod ord">
          <ac:chgData name="Maximilian Maier" userId="2dea75bf-1e61-418a-9a4e-3c96e4410998" providerId="ADAL" clId="{E5FA7755-4464-4339-8923-4731CE90646D}" dt="2023-12-04T10:04:29.801" v="3009" actId="700"/>
          <ac:spMkLst>
            <pc:docMk/>
            <pc:sldMk cId="694664240" sldId="2147478882"/>
            <ac:spMk id="16" creationId="{A73DDBE6-31D1-E321-BD29-CEE6BCBFC15B}"/>
          </ac:spMkLst>
        </pc:spChg>
        <pc:spChg chg="add del mod ord">
          <ac:chgData name="Maximilian Maier" userId="2dea75bf-1e61-418a-9a4e-3c96e4410998" providerId="ADAL" clId="{E5FA7755-4464-4339-8923-4731CE90646D}" dt="2023-12-04T10:04:29.801" v="3009" actId="700"/>
          <ac:spMkLst>
            <pc:docMk/>
            <pc:sldMk cId="694664240" sldId="2147478882"/>
            <ac:spMk id="17" creationId="{D264D1B0-1771-ED20-6974-185B96403825}"/>
          </ac:spMkLst>
        </pc:spChg>
        <pc:spChg chg="add del mod ord">
          <ac:chgData name="Maximilian Maier" userId="2dea75bf-1e61-418a-9a4e-3c96e4410998" providerId="ADAL" clId="{E5FA7755-4464-4339-8923-4731CE90646D}" dt="2023-12-04T10:05:22.243" v="3016"/>
          <ac:spMkLst>
            <pc:docMk/>
            <pc:sldMk cId="694664240" sldId="2147478882"/>
            <ac:spMk id="18" creationId="{5DFFDEEE-2CB8-549D-BB26-44600A1EA88D}"/>
          </ac:spMkLst>
        </pc:spChg>
        <pc:spChg chg="add del mod ord">
          <ac:chgData name="Maximilian Maier" userId="2dea75bf-1e61-418a-9a4e-3c96e4410998" providerId="ADAL" clId="{E5FA7755-4464-4339-8923-4731CE90646D}" dt="2023-12-04T10:05:22.243" v="3016"/>
          <ac:spMkLst>
            <pc:docMk/>
            <pc:sldMk cId="694664240" sldId="2147478882"/>
            <ac:spMk id="19" creationId="{62C7F223-03DD-470C-F354-4849E8FBB033}"/>
          </ac:spMkLst>
        </pc:spChg>
        <pc:spChg chg="add del mod">
          <ac:chgData name="Maximilian Maier" userId="2dea75bf-1e61-418a-9a4e-3c96e4410998" providerId="ADAL" clId="{E5FA7755-4464-4339-8923-4731CE90646D}" dt="2023-12-04T10:05:22.243" v="3016"/>
          <ac:spMkLst>
            <pc:docMk/>
            <pc:sldMk cId="694664240" sldId="2147478882"/>
            <ac:spMk id="20" creationId="{B6721251-E1F8-4DF9-CE2D-179FB763EFA6}"/>
          </ac:spMkLst>
        </pc:spChg>
        <pc:spChg chg="add del mod">
          <ac:chgData name="Maximilian Maier" userId="2dea75bf-1e61-418a-9a4e-3c96e4410998" providerId="ADAL" clId="{E5FA7755-4464-4339-8923-4731CE90646D}" dt="2023-12-04T10:05:26.846" v="3017" actId="478"/>
          <ac:spMkLst>
            <pc:docMk/>
            <pc:sldMk cId="694664240" sldId="2147478882"/>
            <ac:spMk id="21" creationId="{78C69715-1859-F59D-EB1C-501030671617}"/>
          </ac:spMkLst>
        </pc:spChg>
        <pc:spChg chg="add del mod">
          <ac:chgData name="Maximilian Maier" userId="2dea75bf-1e61-418a-9a4e-3c96e4410998" providerId="ADAL" clId="{E5FA7755-4464-4339-8923-4731CE90646D}" dt="2023-12-04T10:05:31.882" v="3019" actId="478"/>
          <ac:spMkLst>
            <pc:docMk/>
            <pc:sldMk cId="694664240" sldId="2147478882"/>
            <ac:spMk id="22" creationId="{2D167299-42BB-287F-FE03-E857C20E8DB6}"/>
          </ac:spMkLst>
        </pc:spChg>
        <pc:spChg chg="add mod">
          <ac:chgData name="Maximilian Maier" userId="2dea75bf-1e61-418a-9a4e-3c96e4410998" providerId="ADAL" clId="{E5FA7755-4464-4339-8923-4731CE90646D}" dt="2023-12-04T15:00:01.081" v="9138"/>
          <ac:spMkLst>
            <pc:docMk/>
            <pc:sldMk cId="694664240" sldId="2147478882"/>
            <ac:spMk id="24" creationId="{26ABD07B-81B0-446F-914D-2F132E130E81}"/>
          </ac:spMkLst>
        </pc:spChg>
        <pc:spChg chg="add mod">
          <ac:chgData name="Maximilian Maier" userId="2dea75bf-1e61-418a-9a4e-3c96e4410998" providerId="ADAL" clId="{E5FA7755-4464-4339-8923-4731CE90646D}" dt="2023-12-04T15:00:01.081" v="9138"/>
          <ac:spMkLst>
            <pc:docMk/>
            <pc:sldMk cId="694664240" sldId="2147478882"/>
            <ac:spMk id="25" creationId="{8D9A886C-3D6D-4F00-8588-2A7FBFAA3E56}"/>
          </ac:spMkLst>
        </pc:spChg>
        <pc:spChg chg="add mod">
          <ac:chgData name="Maximilian Maier" userId="2dea75bf-1e61-418a-9a4e-3c96e4410998" providerId="ADAL" clId="{E5FA7755-4464-4339-8923-4731CE90646D}" dt="2023-12-04T15:00:07.585" v="9144"/>
          <ac:spMkLst>
            <pc:docMk/>
            <pc:sldMk cId="694664240" sldId="2147478882"/>
            <ac:spMk id="30" creationId="{26ABD07B-81B0-446F-914D-2F132E130E81}"/>
          </ac:spMkLst>
        </pc:spChg>
        <pc:spChg chg="add mod">
          <ac:chgData name="Maximilian Maier" userId="2dea75bf-1e61-418a-9a4e-3c96e4410998" providerId="ADAL" clId="{E5FA7755-4464-4339-8923-4731CE90646D}" dt="2023-12-04T15:00:07.585" v="9144"/>
          <ac:spMkLst>
            <pc:docMk/>
            <pc:sldMk cId="694664240" sldId="2147478882"/>
            <ac:spMk id="31" creationId="{8D9A886C-3D6D-4F00-8588-2A7FBFAA3E56}"/>
          </ac:spMkLst>
        </pc:spChg>
        <pc:spChg chg="add mod">
          <ac:chgData name="Maximilian Maier" userId="2dea75bf-1e61-418a-9a4e-3c96e4410998" providerId="ADAL" clId="{E5FA7755-4464-4339-8923-4731CE90646D}" dt="2023-12-04T15:00:13.169" v="9147" actId="1076"/>
          <ac:spMkLst>
            <pc:docMk/>
            <pc:sldMk cId="694664240" sldId="2147478882"/>
            <ac:spMk id="36" creationId="{26ABD07B-81B0-446F-914D-2F132E130E81}"/>
          </ac:spMkLst>
        </pc:spChg>
        <pc:spChg chg="add mod">
          <ac:chgData name="Maximilian Maier" userId="2dea75bf-1e61-418a-9a4e-3c96e4410998" providerId="ADAL" clId="{E5FA7755-4464-4339-8923-4731CE90646D}" dt="2023-12-04T15:00:13.169" v="9147" actId="1076"/>
          <ac:spMkLst>
            <pc:docMk/>
            <pc:sldMk cId="694664240" sldId="2147478882"/>
            <ac:spMk id="37" creationId="{8D9A886C-3D6D-4F00-8588-2A7FBFAA3E56}"/>
          </ac:spMkLst>
        </pc:spChg>
        <pc:grpChg chg="mod">
          <ac:chgData name="Maximilian Maier" userId="2dea75bf-1e61-418a-9a4e-3c96e4410998" providerId="ADAL" clId="{E5FA7755-4464-4339-8923-4731CE90646D}" dt="2023-12-04T10:05:48.148" v="3021" actId="1076"/>
          <ac:grpSpMkLst>
            <pc:docMk/>
            <pc:sldMk cId="694664240" sldId="2147478882"/>
            <ac:grpSpMk id="7" creationId="{9B6F6414-2EB4-6B48-B668-509FB927882C}"/>
          </ac:grpSpMkLst>
        </pc:grpChg>
        <pc:graphicFrameChg chg="mod modGraphic">
          <ac:chgData name="Maximilian Maier" userId="2dea75bf-1e61-418a-9a4e-3c96e4410998" providerId="ADAL" clId="{E5FA7755-4464-4339-8923-4731CE90646D}" dt="2023-12-04T13:50:49.677" v="8164" actId="20577"/>
          <ac:graphicFrameMkLst>
            <pc:docMk/>
            <pc:sldMk cId="694664240" sldId="2147478882"/>
            <ac:graphicFrameMk id="10" creationId="{D1DF951A-1104-47A3-925E-559F127EF5B6}"/>
          </ac:graphicFrameMkLst>
        </pc:graphicFrameChg>
        <pc:picChg chg="mod">
          <ac:chgData name="Maximilian Maier" userId="2dea75bf-1e61-418a-9a4e-3c96e4410998" providerId="ADAL" clId="{E5FA7755-4464-4339-8923-4731CE90646D}" dt="2023-12-04T10:05:44.012" v="3020" actId="208"/>
          <ac:picMkLst>
            <pc:docMk/>
            <pc:sldMk cId="694664240" sldId="2147478882"/>
            <ac:picMk id="4" creationId="{F803E080-A50B-79A7-0385-B905E5BBD210}"/>
          </ac:picMkLst>
        </pc:picChg>
        <pc:picChg chg="add del mod">
          <ac:chgData name="Maximilian Maier" userId="2dea75bf-1e61-418a-9a4e-3c96e4410998" providerId="ADAL" clId="{E5FA7755-4464-4339-8923-4731CE90646D}" dt="2023-12-04T15:00:10.618" v="9145" actId="478"/>
          <ac:picMkLst>
            <pc:docMk/>
            <pc:sldMk cId="694664240" sldId="2147478882"/>
            <ac:picMk id="12" creationId="{D3BAA99A-6481-A890-7BE8-11200B177478}"/>
          </ac:picMkLst>
        </pc:picChg>
        <pc:picChg chg="add del mod">
          <ac:chgData name="Maximilian Maier" userId="2dea75bf-1e61-418a-9a4e-3c96e4410998" providerId="ADAL" clId="{E5FA7755-4464-4339-8923-4731CE90646D}" dt="2023-12-04T15:00:10.618" v="9145" actId="478"/>
          <ac:picMkLst>
            <pc:docMk/>
            <pc:sldMk cId="694664240" sldId="2147478882"/>
            <ac:picMk id="13" creationId="{55EA4878-3411-2A8C-F490-2A8D29CE79B1}"/>
          </ac:picMkLst>
        </pc:picChg>
        <pc:picChg chg="add del mod">
          <ac:chgData name="Maximilian Maier" userId="2dea75bf-1e61-418a-9a4e-3c96e4410998" providerId="ADAL" clId="{E5FA7755-4464-4339-8923-4731CE90646D}" dt="2023-12-04T15:00:10.618" v="9145" actId="478"/>
          <ac:picMkLst>
            <pc:docMk/>
            <pc:sldMk cId="694664240" sldId="2147478882"/>
            <ac:picMk id="14" creationId="{D6E57AF5-236D-3172-CE31-C5B2FC545D92}"/>
          </ac:picMkLst>
        </pc:picChg>
        <pc:picChg chg="add del mod">
          <ac:chgData name="Maximilian Maier" userId="2dea75bf-1e61-418a-9a4e-3c96e4410998" providerId="ADAL" clId="{E5FA7755-4464-4339-8923-4731CE90646D}" dt="2023-12-04T15:00:10.618" v="9145" actId="478"/>
          <ac:picMkLst>
            <pc:docMk/>
            <pc:sldMk cId="694664240" sldId="2147478882"/>
            <ac:picMk id="15" creationId="{ECB489CD-54DD-8546-48C0-225AFC1CC454}"/>
          </ac:picMkLst>
        </pc:picChg>
        <pc:picChg chg="add del mod">
          <ac:chgData name="Maximilian Maier" userId="2dea75bf-1e61-418a-9a4e-3c96e4410998" providerId="ADAL" clId="{E5FA7755-4464-4339-8923-4731CE90646D}" dt="2023-12-04T15:00:10.618" v="9145" actId="478"/>
          <ac:picMkLst>
            <pc:docMk/>
            <pc:sldMk cId="694664240" sldId="2147478882"/>
            <ac:picMk id="23" creationId="{532FE4D3-4AF0-9BFB-2C9D-06AC6E16923B}"/>
          </ac:picMkLst>
        </pc:picChg>
        <pc:picChg chg="add mod">
          <ac:chgData name="Maximilian Maier" userId="2dea75bf-1e61-418a-9a4e-3c96e4410998" providerId="ADAL" clId="{E5FA7755-4464-4339-8923-4731CE90646D}" dt="2023-12-04T15:00:01.081" v="9138"/>
          <ac:picMkLst>
            <pc:docMk/>
            <pc:sldMk cId="694664240" sldId="2147478882"/>
            <ac:picMk id="26" creationId="{0B1A87E8-9470-4464-AE15-7CEA911CB6CF}"/>
          </ac:picMkLst>
        </pc:picChg>
        <pc:picChg chg="add mod">
          <ac:chgData name="Maximilian Maier" userId="2dea75bf-1e61-418a-9a4e-3c96e4410998" providerId="ADAL" clId="{E5FA7755-4464-4339-8923-4731CE90646D}" dt="2023-12-04T15:00:01.081" v="9138"/>
          <ac:picMkLst>
            <pc:docMk/>
            <pc:sldMk cId="694664240" sldId="2147478882"/>
            <ac:picMk id="27" creationId="{195BBA1A-0699-48FC-8594-DCFD29B76001}"/>
          </ac:picMkLst>
        </pc:picChg>
        <pc:picChg chg="add mod">
          <ac:chgData name="Maximilian Maier" userId="2dea75bf-1e61-418a-9a4e-3c96e4410998" providerId="ADAL" clId="{E5FA7755-4464-4339-8923-4731CE90646D}" dt="2023-12-04T15:00:01.081" v="9138"/>
          <ac:picMkLst>
            <pc:docMk/>
            <pc:sldMk cId="694664240" sldId="2147478882"/>
            <ac:picMk id="28" creationId="{C604DA20-A7B0-4F4C-A3DF-24DE8DE9F141}"/>
          </ac:picMkLst>
        </pc:picChg>
        <pc:picChg chg="add mod">
          <ac:chgData name="Maximilian Maier" userId="2dea75bf-1e61-418a-9a4e-3c96e4410998" providerId="ADAL" clId="{E5FA7755-4464-4339-8923-4731CE90646D}" dt="2023-12-04T15:00:01.081" v="9138"/>
          <ac:picMkLst>
            <pc:docMk/>
            <pc:sldMk cId="694664240" sldId="2147478882"/>
            <ac:picMk id="29" creationId="{B27BFECC-C087-4A2A-A35A-32A11920B92E}"/>
          </ac:picMkLst>
        </pc:picChg>
        <pc:picChg chg="add mod">
          <ac:chgData name="Maximilian Maier" userId="2dea75bf-1e61-418a-9a4e-3c96e4410998" providerId="ADAL" clId="{E5FA7755-4464-4339-8923-4731CE90646D}" dt="2023-12-04T15:00:07.585" v="9144"/>
          <ac:picMkLst>
            <pc:docMk/>
            <pc:sldMk cId="694664240" sldId="2147478882"/>
            <ac:picMk id="32" creationId="{0B1A87E8-9470-4464-AE15-7CEA911CB6CF}"/>
          </ac:picMkLst>
        </pc:picChg>
        <pc:picChg chg="add mod">
          <ac:chgData name="Maximilian Maier" userId="2dea75bf-1e61-418a-9a4e-3c96e4410998" providerId="ADAL" clId="{E5FA7755-4464-4339-8923-4731CE90646D}" dt="2023-12-04T15:00:07.585" v="9144"/>
          <ac:picMkLst>
            <pc:docMk/>
            <pc:sldMk cId="694664240" sldId="2147478882"/>
            <ac:picMk id="33" creationId="{195BBA1A-0699-48FC-8594-DCFD29B76001}"/>
          </ac:picMkLst>
        </pc:picChg>
        <pc:picChg chg="add mod">
          <ac:chgData name="Maximilian Maier" userId="2dea75bf-1e61-418a-9a4e-3c96e4410998" providerId="ADAL" clId="{E5FA7755-4464-4339-8923-4731CE90646D}" dt="2023-12-04T15:00:07.585" v="9144"/>
          <ac:picMkLst>
            <pc:docMk/>
            <pc:sldMk cId="694664240" sldId="2147478882"/>
            <ac:picMk id="34" creationId="{C604DA20-A7B0-4F4C-A3DF-24DE8DE9F141}"/>
          </ac:picMkLst>
        </pc:picChg>
        <pc:picChg chg="add mod">
          <ac:chgData name="Maximilian Maier" userId="2dea75bf-1e61-418a-9a4e-3c96e4410998" providerId="ADAL" clId="{E5FA7755-4464-4339-8923-4731CE90646D}" dt="2023-12-04T15:00:07.585" v="9144"/>
          <ac:picMkLst>
            <pc:docMk/>
            <pc:sldMk cId="694664240" sldId="2147478882"/>
            <ac:picMk id="35" creationId="{B27BFECC-C087-4A2A-A35A-32A11920B92E}"/>
          </ac:picMkLst>
        </pc:picChg>
        <pc:picChg chg="add mod">
          <ac:chgData name="Maximilian Maier" userId="2dea75bf-1e61-418a-9a4e-3c96e4410998" providerId="ADAL" clId="{E5FA7755-4464-4339-8923-4731CE90646D}" dt="2023-12-04T15:00:13.169" v="9147" actId="1076"/>
          <ac:picMkLst>
            <pc:docMk/>
            <pc:sldMk cId="694664240" sldId="2147478882"/>
            <ac:picMk id="38" creationId="{0B1A87E8-9470-4464-AE15-7CEA911CB6CF}"/>
          </ac:picMkLst>
        </pc:picChg>
        <pc:picChg chg="add mod">
          <ac:chgData name="Maximilian Maier" userId="2dea75bf-1e61-418a-9a4e-3c96e4410998" providerId="ADAL" clId="{E5FA7755-4464-4339-8923-4731CE90646D}" dt="2023-12-04T15:00:13.169" v="9147" actId="1076"/>
          <ac:picMkLst>
            <pc:docMk/>
            <pc:sldMk cId="694664240" sldId="2147478882"/>
            <ac:picMk id="39" creationId="{195BBA1A-0699-48FC-8594-DCFD29B76001}"/>
          </ac:picMkLst>
        </pc:picChg>
        <pc:picChg chg="add mod">
          <ac:chgData name="Maximilian Maier" userId="2dea75bf-1e61-418a-9a4e-3c96e4410998" providerId="ADAL" clId="{E5FA7755-4464-4339-8923-4731CE90646D}" dt="2023-12-04T15:00:13.169" v="9147" actId="1076"/>
          <ac:picMkLst>
            <pc:docMk/>
            <pc:sldMk cId="694664240" sldId="2147478882"/>
            <ac:picMk id="40" creationId="{C604DA20-A7B0-4F4C-A3DF-24DE8DE9F141}"/>
          </ac:picMkLst>
        </pc:picChg>
        <pc:picChg chg="add mod">
          <ac:chgData name="Maximilian Maier" userId="2dea75bf-1e61-418a-9a4e-3c96e4410998" providerId="ADAL" clId="{E5FA7755-4464-4339-8923-4731CE90646D}" dt="2023-12-04T15:00:13.169" v="9147" actId="1076"/>
          <ac:picMkLst>
            <pc:docMk/>
            <pc:sldMk cId="694664240" sldId="2147478882"/>
            <ac:picMk id="41" creationId="{B27BFECC-C087-4A2A-A35A-32A11920B92E}"/>
          </ac:picMkLst>
        </pc:picChg>
      </pc:sldChg>
      <pc:sldChg chg="add del">
        <pc:chgData name="Maximilian Maier" userId="2dea75bf-1e61-418a-9a4e-3c96e4410998" providerId="ADAL" clId="{E5FA7755-4464-4339-8923-4731CE90646D}" dt="2023-12-01T15:14:50.518" v="2669" actId="47"/>
        <pc:sldMkLst>
          <pc:docMk/>
          <pc:sldMk cId="502527187" sldId="2147478883"/>
        </pc:sldMkLst>
      </pc:sldChg>
      <pc:sldChg chg="add del">
        <pc:chgData name="Maximilian Maier" userId="2dea75bf-1e61-418a-9a4e-3c96e4410998" providerId="ADAL" clId="{E5FA7755-4464-4339-8923-4731CE90646D}" dt="2023-12-04T10:39:10.986" v="5358" actId="47"/>
        <pc:sldMkLst>
          <pc:docMk/>
          <pc:sldMk cId="3282168474" sldId="2147478883"/>
        </pc:sldMkLst>
      </pc:sldChg>
      <pc:sldChg chg="modSp add del mod">
        <pc:chgData name="Maximilian Maier" userId="2dea75bf-1e61-418a-9a4e-3c96e4410998" providerId="ADAL" clId="{E5FA7755-4464-4339-8923-4731CE90646D}" dt="2023-12-04T10:32:54.295" v="4748" actId="47"/>
        <pc:sldMkLst>
          <pc:docMk/>
          <pc:sldMk cId="3310053889" sldId="2147478883"/>
        </pc:sldMkLst>
        <pc:spChg chg="mod">
          <ac:chgData name="Maximilian Maier" userId="2dea75bf-1e61-418a-9a4e-3c96e4410998" providerId="ADAL" clId="{E5FA7755-4464-4339-8923-4731CE90646D}" dt="2023-12-04T10:15:10.829" v="3508" actId="14100"/>
          <ac:spMkLst>
            <pc:docMk/>
            <pc:sldMk cId="3310053889" sldId="2147478883"/>
            <ac:spMk id="5" creationId="{CE822913-50B8-4130-B7EF-6ECAE7806304}"/>
          </ac:spMkLst>
        </pc:spChg>
      </pc:sldChg>
      <pc:sldChg chg="addSp delSp modSp add mod modClrScheme delAnim chgLayout modNotesTx">
        <pc:chgData name="Maximilian Maier" userId="2dea75bf-1e61-418a-9a4e-3c96e4410998" providerId="ADAL" clId="{E5FA7755-4464-4339-8923-4731CE90646D}" dt="2023-12-05T14:26:13.366" v="9445" actId="1076"/>
        <pc:sldMkLst>
          <pc:docMk/>
          <pc:sldMk cId="1570435177" sldId="2147478884"/>
        </pc:sldMkLst>
        <pc:spChg chg="mod ord">
          <ac:chgData name="Maximilian Maier" userId="2dea75bf-1e61-418a-9a4e-3c96e4410998" providerId="ADAL" clId="{E5FA7755-4464-4339-8923-4731CE90646D}" dt="2023-12-05T14:26:06.926" v="9444" actId="700"/>
          <ac:spMkLst>
            <pc:docMk/>
            <pc:sldMk cId="1570435177" sldId="2147478884"/>
            <ac:spMk id="2" creationId="{8EB42B7B-414A-4155-AF15-51925E1E8A92}"/>
          </ac:spMkLst>
        </pc:spChg>
        <pc:spChg chg="add del mod">
          <ac:chgData name="Maximilian Maier" userId="2dea75bf-1e61-418a-9a4e-3c96e4410998" providerId="ADAL" clId="{E5FA7755-4464-4339-8923-4731CE90646D}" dt="2023-12-05T14:25:53.231" v="9436"/>
          <ac:spMkLst>
            <pc:docMk/>
            <pc:sldMk cId="1570435177" sldId="2147478884"/>
            <ac:spMk id="3" creationId="{53E4DFDC-70FA-E6C8-8289-61B04339D79A}"/>
          </ac:spMkLst>
        </pc:spChg>
        <pc:spChg chg="add del mod">
          <ac:chgData name="Maximilian Maier" userId="2dea75bf-1e61-418a-9a4e-3c96e4410998" providerId="ADAL" clId="{E5FA7755-4464-4339-8923-4731CE90646D}" dt="2023-12-04T10:34:32.060" v="4794"/>
          <ac:spMkLst>
            <pc:docMk/>
            <pc:sldMk cId="1570435177" sldId="2147478884"/>
            <ac:spMk id="3" creationId="{756846FE-7067-177E-2683-90E3AC023308}"/>
          </ac:spMkLst>
        </pc:spChg>
        <pc:spChg chg="add del mod">
          <ac:chgData name="Maximilian Maier" userId="2dea75bf-1e61-418a-9a4e-3c96e4410998" providerId="ADAL" clId="{E5FA7755-4464-4339-8923-4731CE90646D}" dt="2023-12-05T14:25:53.231" v="9436"/>
          <ac:spMkLst>
            <pc:docMk/>
            <pc:sldMk cId="1570435177" sldId="2147478884"/>
            <ac:spMk id="4" creationId="{EB36AFC9-905E-DB98-D010-01DB798DBE4C}"/>
          </ac:spMkLst>
        </pc:spChg>
        <pc:spChg chg="add del mod">
          <ac:chgData name="Maximilian Maier" userId="2dea75bf-1e61-418a-9a4e-3c96e4410998" providerId="ADAL" clId="{E5FA7755-4464-4339-8923-4731CE90646D}" dt="2023-12-05T14:25:53.231" v="9436"/>
          <ac:spMkLst>
            <pc:docMk/>
            <pc:sldMk cId="1570435177" sldId="2147478884"/>
            <ac:spMk id="5" creationId="{AABAD227-3465-ABFF-4165-9BE22374DD37}"/>
          </ac:spMkLst>
        </pc:spChg>
        <pc:spChg chg="add del mod">
          <ac:chgData name="Maximilian Maier" userId="2dea75bf-1e61-418a-9a4e-3c96e4410998" providerId="ADAL" clId="{E5FA7755-4464-4339-8923-4731CE90646D}" dt="2023-12-05T14:25:52.777" v="9435"/>
          <ac:spMkLst>
            <pc:docMk/>
            <pc:sldMk cId="1570435177" sldId="2147478884"/>
            <ac:spMk id="6" creationId="{1ACEF001-07C7-CDDB-F41A-07AB81783E5B}"/>
          </ac:spMkLst>
        </pc:spChg>
        <pc:spChg chg="add del mod">
          <ac:chgData name="Maximilian Maier" userId="2dea75bf-1e61-418a-9a4e-3c96e4410998" providerId="ADAL" clId="{E5FA7755-4464-4339-8923-4731CE90646D}" dt="2023-12-05T14:25:52.777" v="9435"/>
          <ac:spMkLst>
            <pc:docMk/>
            <pc:sldMk cId="1570435177" sldId="2147478884"/>
            <ac:spMk id="7" creationId="{97BA6D34-FDD9-9CF7-9E52-EB6BF92F48B1}"/>
          </ac:spMkLst>
        </pc:spChg>
        <pc:spChg chg="add del mod">
          <ac:chgData name="Maximilian Maier" userId="2dea75bf-1e61-418a-9a4e-3c96e4410998" providerId="ADAL" clId="{E5FA7755-4464-4339-8923-4731CE90646D}" dt="2023-12-05T14:25:52.777" v="9435"/>
          <ac:spMkLst>
            <pc:docMk/>
            <pc:sldMk cId="1570435177" sldId="2147478884"/>
            <ac:spMk id="8" creationId="{4283F951-7AA9-C32B-E33F-9C3BD884983A}"/>
          </ac:spMkLst>
        </pc:spChg>
        <pc:spChg chg="add del mod">
          <ac:chgData name="Maximilian Maier" userId="2dea75bf-1e61-418a-9a4e-3c96e4410998" providerId="ADAL" clId="{E5FA7755-4464-4339-8923-4731CE90646D}" dt="2023-12-05T14:25:52.368" v="9434"/>
          <ac:spMkLst>
            <pc:docMk/>
            <pc:sldMk cId="1570435177" sldId="2147478884"/>
            <ac:spMk id="9" creationId="{18897288-FF4E-B9EE-5CAB-72EBC97806EC}"/>
          </ac:spMkLst>
        </pc:spChg>
        <pc:spChg chg="add del mod">
          <ac:chgData name="Maximilian Maier" userId="2dea75bf-1e61-418a-9a4e-3c96e4410998" providerId="ADAL" clId="{E5FA7755-4464-4339-8923-4731CE90646D}" dt="2023-12-05T14:25:52.368" v="9434"/>
          <ac:spMkLst>
            <pc:docMk/>
            <pc:sldMk cId="1570435177" sldId="2147478884"/>
            <ac:spMk id="10" creationId="{72C57538-2BF7-B13A-64A6-A98053061A4A}"/>
          </ac:spMkLst>
        </pc:spChg>
        <pc:spChg chg="add del mod">
          <ac:chgData name="Maximilian Maier" userId="2dea75bf-1e61-418a-9a4e-3c96e4410998" providerId="ADAL" clId="{E5FA7755-4464-4339-8923-4731CE90646D}" dt="2023-12-05T14:25:52.368" v="9434"/>
          <ac:spMkLst>
            <pc:docMk/>
            <pc:sldMk cId="1570435177" sldId="2147478884"/>
            <ac:spMk id="11" creationId="{36A5E602-59A2-8852-3673-F55BE248AAF4}"/>
          </ac:spMkLst>
        </pc:spChg>
        <pc:spChg chg="add mod">
          <ac:chgData name="Maximilian Maier" userId="2dea75bf-1e61-418a-9a4e-3c96e4410998" providerId="ADAL" clId="{E5FA7755-4464-4339-8923-4731CE90646D}" dt="2023-12-05T14:25:53.891" v="9438" actId="571"/>
          <ac:spMkLst>
            <pc:docMk/>
            <pc:sldMk cId="1570435177" sldId="2147478884"/>
            <ac:spMk id="12" creationId="{36DF85FA-12F5-7D96-27A3-5DD0EC0EE1AD}"/>
          </ac:spMkLst>
        </pc:spChg>
        <pc:spChg chg="del">
          <ac:chgData name="Maximilian Maier" userId="2dea75bf-1e61-418a-9a4e-3c96e4410998" providerId="ADAL" clId="{E5FA7755-4464-4339-8923-4731CE90646D}" dt="2023-12-04T10:34:37.679" v="4797" actId="478"/>
          <ac:spMkLst>
            <pc:docMk/>
            <pc:sldMk cId="1570435177" sldId="2147478884"/>
            <ac:spMk id="13" creationId="{BB3F21FD-DD2C-312C-3E33-27902DA96343}"/>
          </ac:spMkLst>
        </pc:spChg>
        <pc:spChg chg="mod ord">
          <ac:chgData name="Maximilian Maier" userId="2dea75bf-1e61-418a-9a4e-3c96e4410998" providerId="ADAL" clId="{E5FA7755-4464-4339-8923-4731CE90646D}" dt="2023-12-05T14:26:06.926" v="9444" actId="700"/>
          <ac:spMkLst>
            <pc:docMk/>
            <pc:sldMk cId="1570435177" sldId="2147478884"/>
            <ac:spMk id="22" creationId="{C4B34DD1-9F9A-4FF1-CF86-EA3F387E7A42}"/>
          </ac:spMkLst>
        </pc:spChg>
        <pc:spChg chg="add del mod">
          <ac:chgData name="Maximilian Maier" userId="2dea75bf-1e61-418a-9a4e-3c96e4410998" providerId="ADAL" clId="{E5FA7755-4464-4339-8923-4731CE90646D}" dt="2023-12-04T10:34:32.060" v="4794"/>
          <ac:spMkLst>
            <pc:docMk/>
            <pc:sldMk cId="1570435177" sldId="2147478884"/>
            <ac:spMk id="28" creationId="{483F547E-CFD0-DBAE-92D4-E18D27F704EB}"/>
          </ac:spMkLst>
        </pc:spChg>
        <pc:spChg chg="add del mod">
          <ac:chgData name="Maximilian Maier" userId="2dea75bf-1e61-418a-9a4e-3c96e4410998" providerId="ADAL" clId="{E5FA7755-4464-4339-8923-4731CE90646D}" dt="2023-12-04T10:34:34.664" v="4795" actId="478"/>
          <ac:spMkLst>
            <pc:docMk/>
            <pc:sldMk cId="1570435177" sldId="2147478884"/>
            <ac:spMk id="30" creationId="{73124A28-122A-599F-A1A6-FBD0958F16C6}"/>
          </ac:spMkLst>
        </pc:spChg>
        <pc:spChg chg="add del mod">
          <ac:chgData name="Maximilian Maier" userId="2dea75bf-1e61-418a-9a4e-3c96e4410998" providerId="ADAL" clId="{E5FA7755-4464-4339-8923-4731CE90646D}" dt="2023-12-04T10:34:41.638" v="4798"/>
          <ac:spMkLst>
            <pc:docMk/>
            <pc:sldMk cId="1570435177" sldId="2147478884"/>
            <ac:spMk id="31" creationId="{81D92C8F-C6D3-8311-2935-79F3BDAABC60}"/>
          </ac:spMkLst>
        </pc:spChg>
        <pc:spChg chg="add del mod">
          <ac:chgData name="Maximilian Maier" userId="2dea75bf-1e61-418a-9a4e-3c96e4410998" providerId="ADAL" clId="{E5FA7755-4464-4339-8923-4731CE90646D}" dt="2023-12-04T10:34:41.638" v="4798"/>
          <ac:spMkLst>
            <pc:docMk/>
            <pc:sldMk cId="1570435177" sldId="2147478884"/>
            <ac:spMk id="32" creationId="{1609C2EE-3E99-9553-0396-55A0FCB25514}"/>
          </ac:spMkLst>
        </pc:spChg>
        <pc:spChg chg="add mod ord">
          <ac:chgData name="Maximilian Maier" userId="2dea75bf-1e61-418a-9a4e-3c96e4410998" providerId="ADAL" clId="{E5FA7755-4464-4339-8923-4731CE90646D}" dt="2023-12-05T14:26:06.926" v="9444" actId="700"/>
          <ac:spMkLst>
            <pc:docMk/>
            <pc:sldMk cId="1570435177" sldId="2147478884"/>
            <ac:spMk id="33" creationId="{881B8E30-5F40-D481-026F-5B9B582382DC}"/>
          </ac:spMkLst>
        </pc:spChg>
        <pc:spChg chg="add mod">
          <ac:chgData name="Maximilian Maier" userId="2dea75bf-1e61-418a-9a4e-3c96e4410998" providerId="ADAL" clId="{E5FA7755-4464-4339-8923-4731CE90646D}" dt="2023-12-05T14:26:13.366" v="9445" actId="1076"/>
          <ac:spMkLst>
            <pc:docMk/>
            <pc:sldMk cId="1570435177" sldId="2147478884"/>
            <ac:spMk id="34" creationId="{539892A3-049C-261F-23C9-2CFA800EE669}"/>
          </ac:spMkLst>
        </pc:spChg>
        <pc:spChg chg="add del mod">
          <ac:chgData name="Maximilian Maier" userId="2dea75bf-1e61-418a-9a4e-3c96e4410998" providerId="ADAL" clId="{E5FA7755-4464-4339-8923-4731CE90646D}" dt="2023-12-04T13:46:52.833" v="8134"/>
          <ac:spMkLst>
            <pc:docMk/>
            <pc:sldMk cId="1570435177" sldId="2147478884"/>
            <ac:spMk id="35" creationId="{7D829013-0D64-0C2E-C317-C1453CA309DF}"/>
          </ac:spMkLst>
        </pc:spChg>
        <pc:spChg chg="add del mod">
          <ac:chgData name="Maximilian Maier" userId="2dea75bf-1e61-418a-9a4e-3c96e4410998" providerId="ADAL" clId="{E5FA7755-4464-4339-8923-4731CE90646D}" dt="2023-12-04T13:46:52.833" v="8134"/>
          <ac:spMkLst>
            <pc:docMk/>
            <pc:sldMk cId="1570435177" sldId="2147478884"/>
            <ac:spMk id="37" creationId="{C4A3E284-B125-BAD3-19BD-1C54447BFD79}"/>
          </ac:spMkLst>
        </pc:spChg>
        <pc:spChg chg="add del mod">
          <ac:chgData name="Maximilian Maier" userId="2dea75bf-1e61-418a-9a4e-3c96e4410998" providerId="ADAL" clId="{E5FA7755-4464-4339-8923-4731CE90646D}" dt="2023-12-04T13:46:52.833" v="8134"/>
          <ac:spMkLst>
            <pc:docMk/>
            <pc:sldMk cId="1570435177" sldId="2147478884"/>
            <ac:spMk id="38" creationId="{23B190D4-4F86-62E8-6983-0E15E0789547}"/>
          </ac:spMkLst>
        </pc:spChg>
        <pc:spChg chg="add del mod">
          <ac:chgData name="Maximilian Maier" userId="2dea75bf-1e61-418a-9a4e-3c96e4410998" providerId="ADAL" clId="{E5FA7755-4464-4339-8923-4731CE90646D}" dt="2023-12-04T13:46:53.242" v="8135"/>
          <ac:spMkLst>
            <pc:docMk/>
            <pc:sldMk cId="1570435177" sldId="2147478884"/>
            <ac:spMk id="39" creationId="{E4F82C8F-0A55-AC4C-EBCA-90089802EC1E}"/>
          </ac:spMkLst>
        </pc:spChg>
        <pc:spChg chg="add del mod">
          <ac:chgData name="Maximilian Maier" userId="2dea75bf-1e61-418a-9a4e-3c96e4410998" providerId="ADAL" clId="{E5FA7755-4464-4339-8923-4731CE90646D}" dt="2023-12-04T13:46:53.242" v="8135"/>
          <ac:spMkLst>
            <pc:docMk/>
            <pc:sldMk cId="1570435177" sldId="2147478884"/>
            <ac:spMk id="40" creationId="{84ABB180-9758-7E48-8495-D8CDD66F72CE}"/>
          </ac:spMkLst>
        </pc:spChg>
        <pc:spChg chg="del">
          <ac:chgData name="Maximilian Maier" userId="2dea75bf-1e61-418a-9a4e-3c96e4410998" providerId="ADAL" clId="{E5FA7755-4464-4339-8923-4731CE90646D}" dt="2023-12-04T10:34:37.679" v="4797" actId="478"/>
          <ac:spMkLst>
            <pc:docMk/>
            <pc:sldMk cId="1570435177" sldId="2147478884"/>
            <ac:spMk id="41" creationId="{85D83355-498D-5C59-31B5-A6DD9CE7105D}"/>
          </ac:spMkLst>
        </pc:spChg>
        <pc:spChg chg="add del mod">
          <ac:chgData name="Maximilian Maier" userId="2dea75bf-1e61-418a-9a4e-3c96e4410998" providerId="ADAL" clId="{E5FA7755-4464-4339-8923-4731CE90646D}" dt="2023-12-04T13:46:53.242" v="8135"/>
          <ac:spMkLst>
            <pc:docMk/>
            <pc:sldMk cId="1570435177" sldId="2147478884"/>
            <ac:spMk id="61" creationId="{04E3D44D-A6EF-708F-87B1-4FE0536E5A14}"/>
          </ac:spMkLst>
        </pc:spChg>
        <pc:spChg chg="add del mod">
          <ac:chgData name="Maximilian Maier" userId="2dea75bf-1e61-418a-9a4e-3c96e4410998" providerId="ADAL" clId="{E5FA7755-4464-4339-8923-4731CE90646D}" dt="2023-12-04T13:46:53.352" v="8136"/>
          <ac:spMkLst>
            <pc:docMk/>
            <pc:sldMk cId="1570435177" sldId="2147478884"/>
            <ac:spMk id="66" creationId="{C33FDE06-FB14-2AF3-E78E-BABC714936FE}"/>
          </ac:spMkLst>
        </pc:spChg>
        <pc:spChg chg="add del mod">
          <ac:chgData name="Maximilian Maier" userId="2dea75bf-1e61-418a-9a4e-3c96e4410998" providerId="ADAL" clId="{E5FA7755-4464-4339-8923-4731CE90646D}" dt="2023-12-04T13:46:53.352" v="8136"/>
          <ac:spMkLst>
            <pc:docMk/>
            <pc:sldMk cId="1570435177" sldId="2147478884"/>
            <ac:spMk id="77" creationId="{A3EDECD1-3AC6-902B-28F7-9158DEEF8BF8}"/>
          </ac:spMkLst>
        </pc:spChg>
        <pc:spChg chg="add del mod">
          <ac:chgData name="Maximilian Maier" userId="2dea75bf-1e61-418a-9a4e-3c96e4410998" providerId="ADAL" clId="{E5FA7755-4464-4339-8923-4731CE90646D}" dt="2023-12-04T13:46:53.352" v="8136"/>
          <ac:spMkLst>
            <pc:docMk/>
            <pc:sldMk cId="1570435177" sldId="2147478884"/>
            <ac:spMk id="78" creationId="{270BD440-F389-1A6D-ED7C-500902CEAAB6}"/>
          </ac:spMkLst>
        </pc:spChg>
        <pc:spChg chg="add del mod">
          <ac:chgData name="Maximilian Maier" userId="2dea75bf-1e61-418a-9a4e-3c96e4410998" providerId="ADAL" clId="{E5FA7755-4464-4339-8923-4731CE90646D}" dt="2023-12-04T13:46:55.581" v="8137"/>
          <ac:spMkLst>
            <pc:docMk/>
            <pc:sldMk cId="1570435177" sldId="2147478884"/>
            <ac:spMk id="80" creationId="{892F4CFE-7DD3-6CB2-9EBB-76C31966CFA3}"/>
          </ac:spMkLst>
        </pc:spChg>
        <pc:spChg chg="add del mod">
          <ac:chgData name="Maximilian Maier" userId="2dea75bf-1e61-418a-9a4e-3c96e4410998" providerId="ADAL" clId="{E5FA7755-4464-4339-8923-4731CE90646D}" dt="2023-12-04T13:46:55.581" v="8137"/>
          <ac:spMkLst>
            <pc:docMk/>
            <pc:sldMk cId="1570435177" sldId="2147478884"/>
            <ac:spMk id="81" creationId="{277E8440-1363-0368-9515-410DF484C14C}"/>
          </ac:spMkLst>
        </pc:spChg>
        <pc:spChg chg="add del mod">
          <ac:chgData name="Maximilian Maier" userId="2dea75bf-1e61-418a-9a4e-3c96e4410998" providerId="ADAL" clId="{E5FA7755-4464-4339-8923-4731CE90646D}" dt="2023-12-04T13:46:55.581" v="8137"/>
          <ac:spMkLst>
            <pc:docMk/>
            <pc:sldMk cId="1570435177" sldId="2147478884"/>
            <ac:spMk id="82" creationId="{27087DC9-32AE-516F-D6A8-F4E77D477A4F}"/>
          </ac:spMkLst>
        </pc:spChg>
        <pc:spChg chg="add del mod">
          <ac:chgData name="Maximilian Maier" userId="2dea75bf-1e61-418a-9a4e-3c96e4410998" providerId="ADAL" clId="{E5FA7755-4464-4339-8923-4731CE90646D}" dt="2023-12-04T13:46:55.770" v="8138"/>
          <ac:spMkLst>
            <pc:docMk/>
            <pc:sldMk cId="1570435177" sldId="2147478884"/>
            <ac:spMk id="83" creationId="{A10D5777-BF80-9B1C-8BC6-7D6CE252F5E9}"/>
          </ac:spMkLst>
        </pc:spChg>
        <pc:spChg chg="add del mod">
          <ac:chgData name="Maximilian Maier" userId="2dea75bf-1e61-418a-9a4e-3c96e4410998" providerId="ADAL" clId="{E5FA7755-4464-4339-8923-4731CE90646D}" dt="2023-12-04T13:46:55.770" v="8138"/>
          <ac:spMkLst>
            <pc:docMk/>
            <pc:sldMk cId="1570435177" sldId="2147478884"/>
            <ac:spMk id="84" creationId="{5E7AAD3F-C7A8-B9DB-93D5-068E8DD71F2F}"/>
          </ac:spMkLst>
        </pc:spChg>
        <pc:spChg chg="add del mod">
          <ac:chgData name="Maximilian Maier" userId="2dea75bf-1e61-418a-9a4e-3c96e4410998" providerId="ADAL" clId="{E5FA7755-4464-4339-8923-4731CE90646D}" dt="2023-12-04T13:46:55.770" v="8138"/>
          <ac:spMkLst>
            <pc:docMk/>
            <pc:sldMk cId="1570435177" sldId="2147478884"/>
            <ac:spMk id="86" creationId="{5EDF6864-AF1D-4413-133A-67A88C7E468C}"/>
          </ac:spMkLst>
        </pc:spChg>
        <pc:grpChg chg="del">
          <ac:chgData name="Maximilian Maier" userId="2dea75bf-1e61-418a-9a4e-3c96e4410998" providerId="ADAL" clId="{E5FA7755-4464-4339-8923-4731CE90646D}" dt="2023-12-04T10:34:37.679" v="4797" actId="478"/>
          <ac:grpSpMkLst>
            <pc:docMk/>
            <pc:sldMk cId="1570435177" sldId="2147478884"/>
            <ac:grpSpMk id="29" creationId="{E03E8B3B-9633-A64A-ABBB-AC66AE66B502}"/>
          </ac:grpSpMkLst>
        </pc:grpChg>
        <pc:grpChg chg="del">
          <ac:chgData name="Maximilian Maier" userId="2dea75bf-1e61-418a-9a4e-3c96e4410998" providerId="ADAL" clId="{E5FA7755-4464-4339-8923-4731CE90646D}" dt="2023-12-04T10:34:37.679" v="4797" actId="478"/>
          <ac:grpSpMkLst>
            <pc:docMk/>
            <pc:sldMk cId="1570435177" sldId="2147478884"/>
            <ac:grpSpMk id="36" creationId="{316458A3-71A0-A4AE-B6E8-92C275E1A8DA}"/>
          </ac:grpSpMkLst>
        </pc:grpChg>
        <pc:grpChg chg="del">
          <ac:chgData name="Maximilian Maier" userId="2dea75bf-1e61-418a-9a4e-3c96e4410998" providerId="ADAL" clId="{E5FA7755-4464-4339-8923-4731CE90646D}" dt="2023-12-04T10:34:30.882" v="4793" actId="478"/>
          <ac:grpSpMkLst>
            <pc:docMk/>
            <pc:sldMk cId="1570435177" sldId="2147478884"/>
            <ac:grpSpMk id="79" creationId="{3587C292-CC9B-F711-59D5-A0E86ED7D78A}"/>
          </ac:grpSpMkLst>
        </pc:grpChg>
        <pc:picChg chg="del">
          <ac:chgData name="Maximilian Maier" userId="2dea75bf-1e61-418a-9a4e-3c96e4410998" providerId="ADAL" clId="{E5FA7755-4464-4339-8923-4731CE90646D}" dt="2023-12-04T10:34:37.679" v="4797" actId="478"/>
          <ac:picMkLst>
            <pc:docMk/>
            <pc:sldMk cId="1570435177" sldId="2147478884"/>
            <ac:picMk id="45" creationId="{951A6AF3-DF24-334D-6748-1D0AA2A55ABF}"/>
          </ac:picMkLst>
        </pc:picChg>
        <pc:picChg chg="del">
          <ac:chgData name="Maximilian Maier" userId="2dea75bf-1e61-418a-9a4e-3c96e4410998" providerId="ADAL" clId="{E5FA7755-4464-4339-8923-4731CE90646D}" dt="2023-12-04T10:34:37.679" v="4797" actId="478"/>
          <ac:picMkLst>
            <pc:docMk/>
            <pc:sldMk cId="1570435177" sldId="2147478884"/>
            <ac:picMk id="51" creationId="{51979880-51E8-3F03-BCCC-45F4C55C5F05}"/>
          </ac:picMkLst>
        </pc:picChg>
        <pc:picChg chg="del">
          <ac:chgData name="Maximilian Maier" userId="2dea75bf-1e61-418a-9a4e-3c96e4410998" providerId="ADAL" clId="{E5FA7755-4464-4339-8923-4731CE90646D}" dt="2023-12-04T10:34:37.679" v="4797" actId="478"/>
          <ac:picMkLst>
            <pc:docMk/>
            <pc:sldMk cId="1570435177" sldId="2147478884"/>
            <ac:picMk id="54" creationId="{8EB97B3C-0A51-6DCB-BB0B-124FB04E4850}"/>
          </ac:picMkLst>
        </pc:picChg>
      </pc:sldChg>
      <pc:sldChg chg="modSp add del mod">
        <pc:chgData name="Maximilian Maier" userId="2dea75bf-1e61-418a-9a4e-3c96e4410998" providerId="ADAL" clId="{E5FA7755-4464-4339-8923-4731CE90646D}" dt="2023-12-04T09:50:23.773" v="3002" actId="47"/>
        <pc:sldMkLst>
          <pc:docMk/>
          <pc:sldMk cId="3534310312" sldId="2147478884"/>
        </pc:sldMkLst>
        <pc:spChg chg="mod">
          <ac:chgData name="Maximilian Maier" userId="2dea75bf-1e61-418a-9a4e-3c96e4410998" providerId="ADAL" clId="{E5FA7755-4464-4339-8923-4731CE90646D}" dt="2023-12-01T15:14:59.846" v="2670" actId="1076"/>
          <ac:spMkLst>
            <pc:docMk/>
            <pc:sldMk cId="3534310312" sldId="2147478884"/>
            <ac:spMk id="199" creationId="{EEA4D833-134F-3F91-F25C-327C4B3B2588}"/>
          </ac:spMkLst>
        </pc:spChg>
      </pc:sldChg>
      <pc:sldChg chg="new del ord">
        <pc:chgData name="Maximilian Maier" userId="2dea75bf-1e61-418a-9a4e-3c96e4410998" providerId="ADAL" clId="{E5FA7755-4464-4339-8923-4731CE90646D}" dt="2023-12-04T09:50:23.773" v="3002" actId="47"/>
        <pc:sldMkLst>
          <pc:docMk/>
          <pc:sldMk cId="287471629" sldId="2147478885"/>
        </pc:sldMkLst>
      </pc:sldChg>
      <pc:sldChg chg="add del">
        <pc:chgData name="Maximilian Maier" userId="2dea75bf-1e61-418a-9a4e-3c96e4410998" providerId="ADAL" clId="{E5FA7755-4464-4339-8923-4731CE90646D}" dt="2023-12-04T09:38:17.022" v="2905" actId="47"/>
        <pc:sldMkLst>
          <pc:docMk/>
          <pc:sldMk cId="1285224398" sldId="2147478885"/>
        </pc:sldMkLst>
      </pc:sldChg>
      <pc:sldChg chg="addSp delSp modSp add del mod ord modClrScheme chgLayout">
        <pc:chgData name="Maximilian Maier" userId="2dea75bf-1e61-418a-9a4e-3c96e4410998" providerId="ADAL" clId="{E5FA7755-4464-4339-8923-4731CE90646D}" dt="2023-12-04T13:51:49.966" v="8166" actId="47"/>
        <pc:sldMkLst>
          <pc:docMk/>
          <pc:sldMk cId="1783935540" sldId="2147478885"/>
        </pc:sldMkLst>
        <pc:spChg chg="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2" creationId="{D02EA3BB-9610-9535-7372-00F25D67FC13}"/>
          </ac:spMkLst>
        </pc:spChg>
        <pc:spChg chg="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3" creationId="{9A376712-B125-DE39-3B08-D755A60E3B2C}"/>
          </ac:spMkLst>
        </pc:spChg>
        <pc:spChg chg="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4" creationId="{17FB06A5-5789-2CF2-E31B-019DF8DBC062}"/>
          </ac:spMkLst>
        </pc:spChg>
        <pc:spChg chg="add del 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7" creationId="{1CCDC7E8-66ED-4105-ED8A-92729B4E10EA}"/>
          </ac:spMkLst>
        </pc:spChg>
        <pc:spChg chg="add del 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8" creationId="{0785801C-4F24-9BD0-12AA-05755B15A27E}"/>
          </ac:spMkLst>
        </pc:spChg>
        <pc:spChg chg="add del 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10" creationId="{41EBE93C-AE34-1F73-DB80-90045EA2DF93}"/>
          </ac:spMkLst>
        </pc:spChg>
        <pc:spChg chg="add del mod ord">
          <ac:chgData name="Maximilian Maier" userId="2dea75bf-1e61-418a-9a4e-3c96e4410998" providerId="ADAL" clId="{E5FA7755-4464-4339-8923-4731CE90646D}" dt="2023-12-04T10:44:15.056" v="5504" actId="700"/>
          <ac:spMkLst>
            <pc:docMk/>
            <pc:sldMk cId="1783935540" sldId="2147478885"/>
            <ac:spMk id="11" creationId="{BB26FB04-A9A9-773A-36D3-C0FD6CD10DC5}"/>
          </ac:spMkLst>
        </pc:spChg>
        <pc:spChg chg="mod">
          <ac:chgData name="Maximilian Maier" userId="2dea75bf-1e61-418a-9a4e-3c96e4410998" providerId="ADAL" clId="{E5FA7755-4464-4339-8923-4731CE90646D}" dt="2023-12-04T10:43:36.444" v="5499" actId="404"/>
          <ac:spMkLst>
            <pc:docMk/>
            <pc:sldMk cId="1783935540" sldId="2147478885"/>
            <ac:spMk id="29" creationId="{FD783BBB-09D0-E008-0EEA-EC241F8878F8}"/>
          </ac:spMkLst>
        </pc:spChg>
        <pc:spChg chg="mod">
          <ac:chgData name="Maximilian Maier" userId="2dea75bf-1e61-418a-9a4e-3c96e4410998" providerId="ADAL" clId="{E5FA7755-4464-4339-8923-4731CE90646D}" dt="2023-12-04T10:43:44.753" v="5502"/>
          <ac:spMkLst>
            <pc:docMk/>
            <pc:sldMk cId="1783935540" sldId="2147478885"/>
            <ac:spMk id="30" creationId="{C3F37F0A-5CA4-E434-69D7-E3EDA0D84627}"/>
          </ac:spMkLst>
        </pc:spChg>
      </pc:sldChg>
      <pc:sldChg chg="addSp delSp modSp add mod modClrScheme modAnim chgLayout">
        <pc:chgData name="Maximilian Maier" userId="2dea75bf-1e61-418a-9a4e-3c96e4410998" providerId="ADAL" clId="{E5FA7755-4464-4339-8923-4731CE90646D}" dt="2023-12-05T09:29:19.012" v="9332" actId="20577"/>
        <pc:sldMkLst>
          <pc:docMk/>
          <pc:sldMk cId="1672712042" sldId="2147478886"/>
        </pc:sldMkLst>
        <pc:spChg chg="mod ord">
          <ac:chgData name="Maximilian Maier" userId="2dea75bf-1e61-418a-9a4e-3c96e4410998" providerId="ADAL" clId="{E5FA7755-4464-4339-8923-4731CE90646D}" dt="2023-12-04T10:44:22.492" v="5506" actId="700"/>
          <ac:spMkLst>
            <pc:docMk/>
            <pc:sldMk cId="1672712042" sldId="2147478886"/>
            <ac:spMk id="2" creationId="{D02EA3BB-9610-9535-7372-00F25D67FC13}"/>
          </ac:spMkLst>
        </pc:spChg>
        <pc:spChg chg="mod ord">
          <ac:chgData name="Maximilian Maier" userId="2dea75bf-1e61-418a-9a4e-3c96e4410998" providerId="ADAL" clId="{E5FA7755-4464-4339-8923-4731CE90646D}" dt="2023-12-04T10:44:22.492" v="5506" actId="700"/>
          <ac:spMkLst>
            <pc:docMk/>
            <pc:sldMk cId="1672712042" sldId="2147478886"/>
            <ac:spMk id="3" creationId="{9A376712-B125-DE39-3B08-D755A60E3B2C}"/>
          </ac:spMkLst>
        </pc:spChg>
        <pc:spChg chg="mod ord">
          <ac:chgData name="Maximilian Maier" userId="2dea75bf-1e61-418a-9a4e-3c96e4410998" providerId="ADAL" clId="{E5FA7755-4464-4339-8923-4731CE90646D}" dt="2023-12-04T10:44:22.492" v="5506" actId="700"/>
          <ac:spMkLst>
            <pc:docMk/>
            <pc:sldMk cId="1672712042" sldId="2147478886"/>
            <ac:spMk id="4" creationId="{17FB06A5-5789-2CF2-E31B-019DF8DBC062}"/>
          </ac:spMkLst>
        </pc:spChg>
        <pc:spChg chg="add del mod ord">
          <ac:chgData name="Maximilian Maier" userId="2dea75bf-1e61-418a-9a4e-3c96e4410998" providerId="ADAL" clId="{E5FA7755-4464-4339-8923-4731CE90646D}" dt="2023-12-04T10:44:28.773" v="5509" actId="478"/>
          <ac:spMkLst>
            <pc:docMk/>
            <pc:sldMk cId="1672712042" sldId="2147478886"/>
            <ac:spMk id="7" creationId="{C1B9C9A1-6427-7523-EC0A-15A126FCF24E}"/>
          </ac:spMkLst>
        </pc:spChg>
        <pc:spChg chg="add mod ord">
          <ac:chgData name="Maximilian Maier" userId="2dea75bf-1e61-418a-9a4e-3c96e4410998" providerId="ADAL" clId="{E5FA7755-4464-4339-8923-4731CE90646D}" dt="2023-12-05T09:29:19.012" v="9332" actId="20577"/>
          <ac:spMkLst>
            <pc:docMk/>
            <pc:sldMk cId="1672712042" sldId="2147478886"/>
            <ac:spMk id="8" creationId="{AB80F18E-5D62-B76C-693A-5B71A66370B9}"/>
          </ac:spMkLst>
        </pc:spChg>
        <pc:spChg chg="add mod ord">
          <ac:chgData name="Maximilian Maier" userId="2dea75bf-1e61-418a-9a4e-3c96e4410998" providerId="ADAL" clId="{E5FA7755-4464-4339-8923-4731CE90646D}" dt="2023-12-04T10:44:22.492" v="5506" actId="700"/>
          <ac:spMkLst>
            <pc:docMk/>
            <pc:sldMk cId="1672712042" sldId="2147478886"/>
            <ac:spMk id="10" creationId="{D28A69D5-3AF3-8728-239F-F7E09AB5E9E7}"/>
          </ac:spMkLst>
        </pc:spChg>
        <pc:spChg chg="add mod ord">
          <ac:chgData name="Maximilian Maier" userId="2dea75bf-1e61-418a-9a4e-3c96e4410998" providerId="ADAL" clId="{E5FA7755-4464-4339-8923-4731CE90646D}" dt="2023-12-04T10:46:34.817" v="5601" actId="20577"/>
          <ac:spMkLst>
            <pc:docMk/>
            <pc:sldMk cId="1672712042" sldId="2147478886"/>
            <ac:spMk id="11" creationId="{B07D2C97-EB39-C410-5EB8-9B4EDE9447E7}"/>
          </ac:spMkLst>
        </pc:spChg>
        <pc:spChg chg="add mod ord">
          <ac:chgData name="Maximilian Maier" userId="2dea75bf-1e61-418a-9a4e-3c96e4410998" providerId="ADAL" clId="{E5FA7755-4464-4339-8923-4731CE90646D}" dt="2023-12-04T11:06:06.122" v="6102" actId="1076"/>
          <ac:spMkLst>
            <pc:docMk/>
            <pc:sldMk cId="1672712042" sldId="2147478886"/>
            <ac:spMk id="12" creationId="{67519177-BCA1-B0B0-1C43-31582AE1E2EA}"/>
          </ac:spMkLst>
        </pc:spChg>
        <pc:spChg chg="add mod">
          <ac:chgData name="Maximilian Maier" userId="2dea75bf-1e61-418a-9a4e-3c96e4410998" providerId="ADAL" clId="{E5FA7755-4464-4339-8923-4731CE90646D}" dt="2023-12-04T11:05:10.371" v="6061" actId="571"/>
          <ac:spMkLst>
            <pc:docMk/>
            <pc:sldMk cId="1672712042" sldId="2147478886"/>
            <ac:spMk id="13" creationId="{E3383401-553D-42A9-F301-815867855519}"/>
          </ac:spMkLst>
        </pc:spChg>
        <pc:spChg chg="add mod">
          <ac:chgData name="Maximilian Maier" userId="2dea75bf-1e61-418a-9a4e-3c96e4410998" providerId="ADAL" clId="{E5FA7755-4464-4339-8923-4731CE90646D}" dt="2023-12-04T11:05:10.371" v="6061" actId="571"/>
          <ac:spMkLst>
            <pc:docMk/>
            <pc:sldMk cId="1672712042" sldId="2147478886"/>
            <ac:spMk id="14" creationId="{7D6DCB15-B2EC-04D7-CD0E-ACF4216BF5B6}"/>
          </ac:spMkLst>
        </pc:spChg>
        <pc:spChg chg="add mod ord">
          <ac:chgData name="Maximilian Maier" userId="2dea75bf-1e61-418a-9a4e-3c96e4410998" providerId="ADAL" clId="{E5FA7755-4464-4339-8923-4731CE90646D}" dt="2023-12-04T11:06:12.899" v="6104" actId="167"/>
          <ac:spMkLst>
            <pc:docMk/>
            <pc:sldMk cId="1672712042" sldId="2147478886"/>
            <ac:spMk id="15" creationId="{B502A1AC-B0B5-162E-3A32-59905618AE7E}"/>
          </ac:spMkLst>
        </pc:spChg>
        <pc:spChg chg="mod">
          <ac:chgData name="Maximilian Maier" userId="2dea75bf-1e61-418a-9a4e-3c96e4410998" providerId="ADAL" clId="{E5FA7755-4464-4339-8923-4731CE90646D}" dt="2023-12-04T10:46:13.619" v="5574" actId="14100"/>
          <ac:spMkLst>
            <pc:docMk/>
            <pc:sldMk cId="1672712042" sldId="2147478886"/>
            <ac:spMk id="29" creationId="{FD783BBB-09D0-E008-0EEA-EC241F8878F8}"/>
          </ac:spMkLst>
        </pc:spChg>
        <pc:spChg chg="mod">
          <ac:chgData name="Maximilian Maier" userId="2dea75bf-1e61-418a-9a4e-3c96e4410998" providerId="ADAL" clId="{E5FA7755-4464-4339-8923-4731CE90646D}" dt="2023-12-04T10:46:11.516" v="5573" actId="14100"/>
          <ac:spMkLst>
            <pc:docMk/>
            <pc:sldMk cId="1672712042" sldId="2147478886"/>
            <ac:spMk id="30" creationId="{C3F37F0A-5CA4-E434-69D7-E3EDA0D84627}"/>
          </ac:spMkLst>
        </pc:spChg>
        <pc:picChg chg="mod">
          <ac:chgData name="Maximilian Maier" userId="2dea75bf-1e61-418a-9a4e-3c96e4410998" providerId="ADAL" clId="{E5FA7755-4464-4339-8923-4731CE90646D}" dt="2023-12-04T10:45:45.840" v="5562" actId="1036"/>
          <ac:picMkLst>
            <pc:docMk/>
            <pc:sldMk cId="1672712042" sldId="2147478886"/>
            <ac:picMk id="5" creationId="{CFA1DA83-8AD1-082E-F598-D48E5D4C7A98}"/>
          </ac:picMkLst>
        </pc:picChg>
        <pc:picChg chg="mod">
          <ac:chgData name="Maximilian Maier" userId="2dea75bf-1e61-418a-9a4e-3c96e4410998" providerId="ADAL" clId="{E5FA7755-4464-4339-8923-4731CE90646D}" dt="2023-12-04T10:45:49.389" v="5563" actId="1076"/>
          <ac:picMkLst>
            <pc:docMk/>
            <pc:sldMk cId="1672712042" sldId="2147478886"/>
            <ac:picMk id="6" creationId="{3C1C6E8E-1830-8786-8415-33614637CFE2}"/>
          </ac:picMkLst>
        </pc:picChg>
        <pc:picChg chg="mod">
          <ac:chgData name="Maximilian Maier" userId="2dea75bf-1e61-418a-9a4e-3c96e4410998" providerId="ADAL" clId="{E5FA7755-4464-4339-8923-4731CE90646D}" dt="2023-12-04T10:46:26.073" v="5584" actId="1076"/>
          <ac:picMkLst>
            <pc:docMk/>
            <pc:sldMk cId="1672712042" sldId="2147478886"/>
            <ac:picMk id="9" creationId="{C59F0845-969B-DC13-92D8-34809DE8246D}"/>
          </ac:picMkLst>
        </pc:picChg>
        <pc:picChg chg="mod">
          <ac:chgData name="Maximilian Maier" userId="2dea75bf-1e61-418a-9a4e-3c96e4410998" providerId="ADAL" clId="{E5FA7755-4464-4339-8923-4731CE90646D}" dt="2023-12-04T10:46:17.652" v="5581" actId="1038"/>
          <ac:picMkLst>
            <pc:docMk/>
            <pc:sldMk cId="1672712042" sldId="2147478886"/>
            <ac:picMk id="25" creationId="{EF088D8F-42A9-8AB4-36BA-ADDDDB4CACEC}"/>
          </ac:picMkLst>
        </pc:picChg>
        <pc:picChg chg="mod">
          <ac:chgData name="Maximilian Maier" userId="2dea75bf-1e61-418a-9a4e-3c96e4410998" providerId="ADAL" clId="{E5FA7755-4464-4339-8923-4731CE90646D}" dt="2023-12-04T10:46:26.073" v="5584" actId="1076"/>
          <ac:picMkLst>
            <pc:docMk/>
            <pc:sldMk cId="1672712042" sldId="2147478886"/>
            <ac:picMk id="27" creationId="{7E561B84-DA1A-434B-D908-AE13B318F757}"/>
          </ac:picMkLst>
        </pc:picChg>
        <pc:picChg chg="mod">
          <ac:chgData name="Maximilian Maier" userId="2dea75bf-1e61-418a-9a4e-3c96e4410998" providerId="ADAL" clId="{E5FA7755-4464-4339-8923-4731CE90646D}" dt="2023-12-04T10:46:17.652" v="5581" actId="1038"/>
          <ac:picMkLst>
            <pc:docMk/>
            <pc:sldMk cId="1672712042" sldId="2147478886"/>
            <ac:picMk id="28" creationId="{0AE49CAA-75C7-21AA-474F-1D444273DA79}"/>
          </ac:picMkLst>
        </pc:picChg>
      </pc:sldChg>
      <pc:sldChg chg="addSp delSp modSp add mod ord modClrScheme chgLayout">
        <pc:chgData name="Maximilian Maier" userId="2dea75bf-1e61-418a-9a4e-3c96e4410998" providerId="ADAL" clId="{E5FA7755-4464-4339-8923-4731CE90646D}" dt="2023-12-05T14:26:32.051" v="9447" actId="478"/>
        <pc:sldMkLst>
          <pc:docMk/>
          <pc:sldMk cId="2955698166" sldId="2147478887"/>
        </pc:sldMkLst>
        <pc:spChg chg="mod ord">
          <ac:chgData name="Maximilian Maier" userId="2dea75bf-1e61-418a-9a4e-3c96e4410998" providerId="ADAL" clId="{E5FA7755-4464-4339-8923-4731CE90646D}" dt="2023-12-05T14:26:28.378" v="9446" actId="700"/>
          <ac:spMkLst>
            <pc:docMk/>
            <pc:sldMk cId="2955698166" sldId="2147478887"/>
            <ac:spMk id="2" creationId="{8EB42B7B-414A-4155-AF15-51925E1E8A92}"/>
          </ac:spMkLst>
        </pc:spChg>
        <pc:spChg chg="add del mod ord">
          <ac:chgData name="Maximilian Maier" userId="2dea75bf-1e61-418a-9a4e-3c96e4410998" providerId="ADAL" clId="{E5FA7755-4464-4339-8923-4731CE90646D}" dt="2023-12-04T11:41:43.569" v="6440"/>
          <ac:spMkLst>
            <pc:docMk/>
            <pc:sldMk cId="2955698166" sldId="2147478887"/>
            <ac:spMk id="3" creationId="{27D55CD8-5C87-91B7-AEDA-D2EC421F5C6F}"/>
          </ac:spMkLst>
        </pc:spChg>
        <pc:spChg chg="add mod ord">
          <ac:chgData name="Maximilian Maier" userId="2dea75bf-1e61-418a-9a4e-3c96e4410998" providerId="ADAL" clId="{E5FA7755-4464-4339-8923-4731CE90646D}" dt="2023-12-05T14:26:28.378" v="9446" actId="700"/>
          <ac:spMkLst>
            <pc:docMk/>
            <pc:sldMk cId="2955698166" sldId="2147478887"/>
            <ac:spMk id="3" creationId="{9E6F8C71-3E3A-3A69-6CC2-D5F02D989296}"/>
          </ac:spMkLst>
        </pc:spChg>
        <pc:spChg chg="add del mod ord">
          <ac:chgData name="Maximilian Maier" userId="2dea75bf-1e61-418a-9a4e-3c96e4410998" providerId="ADAL" clId="{E5FA7755-4464-4339-8923-4731CE90646D}" dt="2023-12-05T14:26:32.051" v="9447" actId="478"/>
          <ac:spMkLst>
            <pc:docMk/>
            <pc:sldMk cId="2955698166" sldId="2147478887"/>
            <ac:spMk id="4" creationId="{7F18D94D-5333-5175-FCD6-24CBFE45F04E}"/>
          </ac:spMkLst>
        </pc:spChg>
        <pc:spChg chg="add del mod ord">
          <ac:chgData name="Maximilian Maier" userId="2dea75bf-1e61-418a-9a4e-3c96e4410998" providerId="ADAL" clId="{E5FA7755-4464-4339-8923-4731CE90646D}" dt="2023-12-04T11:41:43.569" v="6440"/>
          <ac:spMkLst>
            <pc:docMk/>
            <pc:sldMk cId="2955698166" sldId="2147478887"/>
            <ac:spMk id="4" creationId="{B7963AD6-2648-9C58-2F75-905370CD5CE1}"/>
          </ac:spMkLst>
        </pc:spChg>
        <pc:spChg chg="add del mod">
          <ac:chgData name="Maximilian Maier" userId="2dea75bf-1e61-418a-9a4e-3c96e4410998" providerId="ADAL" clId="{E5FA7755-4464-4339-8923-4731CE90646D}" dt="2023-12-04T11:41:43.569" v="6440"/>
          <ac:spMkLst>
            <pc:docMk/>
            <pc:sldMk cId="2955698166" sldId="2147478887"/>
            <ac:spMk id="5" creationId="{92CE3ED8-8A4C-5595-6CE3-4780128FC77B}"/>
          </ac:spMkLst>
        </pc:spChg>
        <pc:spChg chg="add del mod ord">
          <ac:chgData name="Maximilian Maier" userId="2dea75bf-1e61-418a-9a4e-3c96e4410998" providerId="ADAL" clId="{E5FA7755-4464-4339-8923-4731CE90646D}" dt="2023-12-05T14:26:28.378" v="9446" actId="700"/>
          <ac:spMkLst>
            <pc:docMk/>
            <pc:sldMk cId="2955698166" sldId="2147478887"/>
            <ac:spMk id="6" creationId="{081C74A8-DFF6-6DAE-F821-0FCF83E64D62}"/>
          </ac:spMkLst>
        </pc:spChg>
        <pc:spChg chg="add del mod">
          <ac:chgData name="Maximilian Maier" userId="2dea75bf-1e61-418a-9a4e-3c96e4410998" providerId="ADAL" clId="{E5FA7755-4464-4339-8923-4731CE90646D}" dt="2023-12-04T11:41:45.187" v="6441" actId="478"/>
          <ac:spMkLst>
            <pc:docMk/>
            <pc:sldMk cId="2955698166" sldId="2147478887"/>
            <ac:spMk id="7" creationId="{663150D2-946D-8FEA-D913-7074F6BA353B}"/>
          </ac:spMkLst>
        </pc:spChg>
        <pc:spChg chg="mod">
          <ac:chgData name="Maximilian Maier" userId="2dea75bf-1e61-418a-9a4e-3c96e4410998" providerId="ADAL" clId="{E5FA7755-4464-4339-8923-4731CE90646D}" dt="2023-12-04T13:55:59.426" v="8175" actId="20577"/>
          <ac:spMkLst>
            <pc:docMk/>
            <pc:sldMk cId="2955698166" sldId="2147478887"/>
            <ac:spMk id="40" creationId="{BCDD9C92-F253-3C15-844D-512F2452200B}"/>
          </ac:spMkLst>
        </pc:spChg>
        <pc:spChg chg="mod">
          <ac:chgData name="Maximilian Maier" userId="2dea75bf-1e61-418a-9a4e-3c96e4410998" providerId="ADAL" clId="{E5FA7755-4464-4339-8923-4731CE90646D}" dt="2023-12-04T11:43:06.604" v="6616" actId="120"/>
          <ac:spMkLst>
            <pc:docMk/>
            <pc:sldMk cId="2955698166" sldId="2147478887"/>
            <ac:spMk id="77" creationId="{5ACF1CB1-A972-1C27-6B03-A2490F71CE14}"/>
          </ac:spMkLst>
        </pc:spChg>
        <pc:spChg chg="mod">
          <ac:chgData name="Maximilian Maier" userId="2dea75bf-1e61-418a-9a4e-3c96e4410998" providerId="ADAL" clId="{E5FA7755-4464-4339-8923-4731CE90646D}" dt="2023-12-04T11:47:11.712" v="6961" actId="20577"/>
          <ac:spMkLst>
            <pc:docMk/>
            <pc:sldMk cId="2955698166" sldId="2147478887"/>
            <ac:spMk id="78" creationId="{3D0924F5-5012-02CE-C0BC-79463B380A62}"/>
          </ac:spMkLst>
        </pc:spChg>
        <pc:spChg chg="mod">
          <ac:chgData name="Maximilian Maier" userId="2dea75bf-1e61-418a-9a4e-3c96e4410998" providerId="ADAL" clId="{E5FA7755-4464-4339-8923-4731CE90646D}" dt="2023-12-04T11:46:58.100" v="6908" actId="20577"/>
          <ac:spMkLst>
            <pc:docMk/>
            <pc:sldMk cId="2955698166" sldId="2147478887"/>
            <ac:spMk id="81" creationId="{773F9EF3-F41D-7B14-37C3-F188DBAB5450}"/>
          </ac:spMkLst>
        </pc:spChg>
        <pc:spChg chg="mod">
          <ac:chgData name="Maximilian Maier" userId="2dea75bf-1e61-418a-9a4e-3c96e4410998" providerId="ADAL" clId="{E5FA7755-4464-4339-8923-4731CE90646D}" dt="2023-12-04T11:46:07.714" v="6812" actId="6549"/>
          <ac:spMkLst>
            <pc:docMk/>
            <pc:sldMk cId="2955698166" sldId="2147478887"/>
            <ac:spMk id="83" creationId="{28A1917C-2C4B-5B08-E62E-FB58AF96E1A6}"/>
          </ac:spMkLst>
        </pc:spChg>
        <pc:spChg chg="mod">
          <ac:chgData name="Maximilian Maier" userId="2dea75bf-1e61-418a-9a4e-3c96e4410998" providerId="ADAL" clId="{E5FA7755-4464-4339-8923-4731CE90646D}" dt="2023-12-04T13:15:35.089" v="7695" actId="20577"/>
          <ac:spMkLst>
            <pc:docMk/>
            <pc:sldMk cId="2955698166" sldId="2147478887"/>
            <ac:spMk id="84" creationId="{C224DA16-1C49-1114-7486-DB22188EE438}"/>
          </ac:spMkLst>
        </pc:spChg>
        <pc:spChg chg="mod">
          <ac:chgData name="Maximilian Maier" userId="2dea75bf-1e61-418a-9a4e-3c96e4410998" providerId="ADAL" clId="{E5FA7755-4464-4339-8923-4731CE90646D}" dt="2023-12-04T11:46:27.729" v="6851" actId="20577"/>
          <ac:spMkLst>
            <pc:docMk/>
            <pc:sldMk cId="2955698166" sldId="2147478887"/>
            <ac:spMk id="97" creationId="{FC520AA9-F605-938D-FE18-8FFF9F75B9F3}"/>
          </ac:spMkLst>
        </pc:spChg>
      </pc:sldChg>
      <pc:sldChg chg="addSp delSp modSp add del mod">
        <pc:chgData name="Maximilian Maier" userId="2dea75bf-1e61-418a-9a4e-3c96e4410998" providerId="ADAL" clId="{E5FA7755-4464-4339-8923-4731CE90646D}" dt="2023-12-04T13:53:38.336" v="8173" actId="47"/>
        <pc:sldMkLst>
          <pc:docMk/>
          <pc:sldMk cId="4143710429" sldId="2147478888"/>
        </pc:sldMkLst>
        <pc:spChg chg="add del mod">
          <ac:chgData name="Maximilian Maier" userId="2dea75bf-1e61-418a-9a4e-3c96e4410998" providerId="ADAL" clId="{E5FA7755-4464-4339-8923-4731CE90646D}" dt="2023-12-04T11:37:40.286" v="6113"/>
          <ac:spMkLst>
            <pc:docMk/>
            <pc:sldMk cId="4143710429" sldId="2147478888"/>
            <ac:spMk id="8" creationId="{C92395E1-D0E2-F47F-AA7C-A784DDD296B3}"/>
          </ac:spMkLst>
        </pc:spChg>
        <pc:spChg chg="mod">
          <ac:chgData name="Maximilian Maier" userId="2dea75bf-1e61-418a-9a4e-3c96e4410998" providerId="ADAL" clId="{E5FA7755-4464-4339-8923-4731CE90646D}" dt="2023-12-04T11:37:53.224" v="6117" actId="14100"/>
          <ac:spMkLst>
            <pc:docMk/>
            <pc:sldMk cId="4143710429" sldId="2147478888"/>
            <ac:spMk id="35" creationId="{8F110E3D-110F-05F6-A56F-41D44D3ECFD4}"/>
          </ac:spMkLst>
        </pc:spChg>
        <pc:picChg chg="add mod">
          <ac:chgData name="Maximilian Maier" userId="2dea75bf-1e61-418a-9a4e-3c96e4410998" providerId="ADAL" clId="{E5FA7755-4464-4339-8923-4731CE90646D}" dt="2023-12-04T11:37:05.978" v="6112" actId="14100"/>
          <ac:picMkLst>
            <pc:docMk/>
            <pc:sldMk cId="4143710429" sldId="2147478888"/>
            <ac:picMk id="5" creationId="{FB03D943-5518-AE57-15C9-D3F847CFE2BF}"/>
          </ac:picMkLst>
        </pc:picChg>
        <pc:picChg chg="del">
          <ac:chgData name="Maximilian Maier" userId="2dea75bf-1e61-418a-9a4e-3c96e4410998" providerId="ADAL" clId="{E5FA7755-4464-4339-8923-4731CE90646D}" dt="2023-12-04T11:37:02.701" v="6111" actId="478"/>
          <ac:picMkLst>
            <pc:docMk/>
            <pc:sldMk cId="4143710429" sldId="2147478888"/>
            <ac:picMk id="6" creationId="{BDAF34D2-5F0E-E794-57A5-21AB11261AFC}"/>
          </ac:picMkLst>
        </pc:picChg>
        <pc:picChg chg="add mod">
          <ac:chgData name="Maximilian Maier" userId="2dea75bf-1e61-418a-9a4e-3c96e4410998" providerId="ADAL" clId="{E5FA7755-4464-4339-8923-4731CE90646D}" dt="2023-12-04T11:37:46.473" v="6116" actId="1076"/>
          <ac:picMkLst>
            <pc:docMk/>
            <pc:sldMk cId="4143710429" sldId="2147478888"/>
            <ac:picMk id="9" creationId="{BE9317F3-B35A-1652-16E1-01EE0B615750}"/>
          </ac:picMkLst>
        </pc:picChg>
        <pc:picChg chg="del">
          <ac:chgData name="Maximilian Maier" userId="2dea75bf-1e61-418a-9a4e-3c96e4410998" providerId="ADAL" clId="{E5FA7755-4464-4339-8923-4731CE90646D}" dt="2023-12-04T11:37:44.736" v="6115" actId="478"/>
          <ac:picMkLst>
            <pc:docMk/>
            <pc:sldMk cId="4143710429" sldId="2147478888"/>
            <ac:picMk id="11" creationId="{1BDF319F-0B39-7785-20AE-4E2C93DFEF18}"/>
          </ac:picMkLst>
        </pc:picChg>
      </pc:sldChg>
      <pc:sldChg chg="addSp delSp modSp add mod">
        <pc:chgData name="Maximilian Maier" userId="2dea75bf-1e61-418a-9a4e-3c96e4410998" providerId="ADAL" clId="{E5FA7755-4464-4339-8923-4731CE90646D}" dt="2023-12-05T14:56:11.550" v="9574" actId="478"/>
        <pc:sldMkLst>
          <pc:docMk/>
          <pc:sldMk cId="3472462379" sldId="2147478889"/>
        </pc:sldMkLst>
        <pc:spChg chg="add del mod">
          <ac:chgData name="Maximilian Maier" userId="2dea75bf-1e61-418a-9a4e-3c96e4410998" providerId="ADAL" clId="{E5FA7755-4464-4339-8923-4731CE90646D}" dt="2023-12-04T11:39:12.140" v="6148" actId="478"/>
          <ac:spMkLst>
            <pc:docMk/>
            <pc:sldMk cId="3472462379" sldId="2147478889"/>
            <ac:spMk id="8" creationId="{56D2CB54-6D7F-9169-4925-686AA7CC1882}"/>
          </ac:spMkLst>
        </pc:spChg>
        <pc:spChg chg="mod">
          <ac:chgData name="Maximilian Maier" userId="2dea75bf-1e61-418a-9a4e-3c96e4410998" providerId="ADAL" clId="{E5FA7755-4464-4339-8923-4731CE90646D}" dt="2023-12-05T10:52:30.535" v="9354" actId="14100"/>
          <ac:spMkLst>
            <pc:docMk/>
            <pc:sldMk cId="3472462379" sldId="2147478889"/>
            <ac:spMk id="35" creationId="{8F110E3D-110F-05F6-A56F-41D44D3ECFD4}"/>
          </ac:spMkLst>
        </pc:spChg>
        <pc:picChg chg="add del mod">
          <ac:chgData name="Maximilian Maier" userId="2dea75bf-1e61-418a-9a4e-3c96e4410998" providerId="ADAL" clId="{E5FA7755-4464-4339-8923-4731CE90646D}" dt="2023-12-05T14:56:11.550" v="9574" actId="478"/>
          <ac:picMkLst>
            <pc:docMk/>
            <pc:sldMk cId="3472462379" sldId="2147478889"/>
            <ac:picMk id="4" creationId="{9DC37075-BF29-2891-5A0F-B39F605B69C3}"/>
          </ac:picMkLst>
        </pc:picChg>
        <pc:picChg chg="add mod">
          <ac:chgData name="Maximilian Maier" userId="2dea75bf-1e61-418a-9a4e-3c96e4410998" providerId="ADAL" clId="{E5FA7755-4464-4339-8923-4731CE90646D}" dt="2023-12-04T11:41:19.242" v="6431" actId="1076"/>
          <ac:picMkLst>
            <pc:docMk/>
            <pc:sldMk cId="3472462379" sldId="2147478889"/>
            <ac:picMk id="5" creationId="{9A6DF2C7-E506-3F62-BCC0-5CA6B6694348}"/>
          </ac:picMkLst>
        </pc:picChg>
        <pc:picChg chg="del">
          <ac:chgData name="Maximilian Maier" userId="2dea75bf-1e61-418a-9a4e-3c96e4410998" providerId="ADAL" clId="{E5FA7755-4464-4339-8923-4731CE90646D}" dt="2023-12-04T11:39:02.591" v="6141" actId="478"/>
          <ac:picMkLst>
            <pc:docMk/>
            <pc:sldMk cId="3472462379" sldId="2147478889"/>
            <ac:picMk id="6" creationId="{BDAF34D2-5F0E-E794-57A5-21AB11261AFC}"/>
          </ac:picMkLst>
        </pc:picChg>
        <pc:picChg chg="del">
          <ac:chgData name="Maximilian Maier" userId="2dea75bf-1e61-418a-9a4e-3c96e4410998" providerId="ADAL" clId="{E5FA7755-4464-4339-8923-4731CE90646D}" dt="2023-12-04T11:38:57.438" v="6133" actId="478"/>
          <ac:picMkLst>
            <pc:docMk/>
            <pc:sldMk cId="3472462379" sldId="2147478889"/>
            <ac:picMk id="11" creationId="{1BDF319F-0B39-7785-20AE-4E2C93DFEF18}"/>
          </ac:picMkLst>
        </pc:picChg>
      </pc:sldChg>
      <pc:sldChg chg="modSp new del mod ord">
        <pc:chgData name="Maximilian Maier" userId="2dea75bf-1e61-418a-9a4e-3c96e4410998" providerId="ADAL" clId="{E5FA7755-4464-4339-8923-4731CE90646D}" dt="2023-12-05T14:25:02.274" v="9426" actId="47"/>
        <pc:sldMkLst>
          <pc:docMk/>
          <pc:sldMk cId="378104894" sldId="2147478890"/>
        </pc:sldMkLst>
        <pc:spChg chg="mod">
          <ac:chgData name="Maximilian Maier" userId="2dea75bf-1e61-418a-9a4e-3c96e4410998" providerId="ADAL" clId="{E5FA7755-4464-4339-8923-4731CE90646D}" dt="2023-12-04T11:44:51.939" v="6702" actId="20577"/>
          <ac:spMkLst>
            <pc:docMk/>
            <pc:sldMk cId="378104894" sldId="2147478890"/>
            <ac:spMk id="2" creationId="{2BAD2894-2574-C2BC-A4C7-C32FB5F51BB6}"/>
          </ac:spMkLst>
        </pc:spChg>
      </pc:sldChg>
      <pc:sldChg chg="modSp add mod ord">
        <pc:chgData name="Maximilian Maier" userId="2dea75bf-1e61-418a-9a4e-3c96e4410998" providerId="ADAL" clId="{E5FA7755-4464-4339-8923-4731CE90646D}" dt="2023-12-04T11:47:53.498" v="6985" actId="6549"/>
        <pc:sldMkLst>
          <pc:docMk/>
          <pc:sldMk cId="2862029469" sldId="2147478891"/>
        </pc:sldMkLst>
        <pc:spChg chg="mod">
          <ac:chgData name="Maximilian Maier" userId="2dea75bf-1e61-418a-9a4e-3c96e4410998" providerId="ADAL" clId="{E5FA7755-4464-4339-8923-4731CE90646D}" dt="2023-12-04T11:47:51.585" v="6984" actId="20577"/>
          <ac:spMkLst>
            <pc:docMk/>
            <pc:sldMk cId="2862029469" sldId="2147478891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1:47:53.498" v="6985" actId="6549"/>
          <ac:spMkLst>
            <pc:docMk/>
            <pc:sldMk cId="2862029469" sldId="2147478891"/>
            <ac:spMk id="6" creationId="{6D0F0B95-2292-94CE-3481-CC4ED41030A9}"/>
          </ac:spMkLst>
        </pc:spChg>
      </pc:sldChg>
      <pc:sldChg chg="add">
        <pc:chgData name="Maximilian Maier" userId="2dea75bf-1e61-418a-9a4e-3c96e4410998" providerId="ADAL" clId="{E5FA7755-4464-4339-8923-4731CE90646D}" dt="2023-12-04T11:58:16.943" v="7247"/>
        <pc:sldMkLst>
          <pc:docMk/>
          <pc:sldMk cId="1245818302" sldId="2147478892"/>
        </pc:sldMkLst>
      </pc:sldChg>
      <pc:sldChg chg="modSp add mod modNotesTx">
        <pc:chgData name="Maximilian Maier" userId="2dea75bf-1e61-418a-9a4e-3c96e4410998" providerId="ADAL" clId="{E5FA7755-4464-4339-8923-4731CE90646D}" dt="2023-12-04T13:26:10.181" v="7825" actId="20577"/>
        <pc:sldMkLst>
          <pc:docMk/>
          <pc:sldMk cId="2108003807" sldId="2147478893"/>
        </pc:sldMkLst>
        <pc:spChg chg="mod">
          <ac:chgData name="Maximilian Maier" userId="2dea75bf-1e61-418a-9a4e-3c96e4410998" providerId="ADAL" clId="{E5FA7755-4464-4339-8923-4731CE90646D}" dt="2023-12-04T13:22:29.871" v="7735" actId="20577"/>
          <ac:spMkLst>
            <pc:docMk/>
            <pc:sldMk cId="2108003807" sldId="2147478893"/>
            <ac:spMk id="3" creationId="{81C40B1B-02CB-4B28-886F-B4CB6AB72BDE}"/>
          </ac:spMkLst>
        </pc:spChg>
        <pc:spChg chg="mod">
          <ac:chgData name="Maximilian Maier" userId="2dea75bf-1e61-418a-9a4e-3c96e4410998" providerId="ADAL" clId="{E5FA7755-4464-4339-8923-4731CE90646D}" dt="2023-12-04T13:26:10.181" v="7825" actId="20577"/>
          <ac:spMkLst>
            <pc:docMk/>
            <pc:sldMk cId="2108003807" sldId="2147478893"/>
            <ac:spMk id="7" creationId="{3E2410B3-D3B5-7E26-6C2C-4177327AA2AC}"/>
          </ac:spMkLst>
        </pc:spChg>
      </pc:sldChg>
      <pc:sldChg chg="modSp add mod">
        <pc:chgData name="Maximilian Maier" userId="2dea75bf-1e61-418a-9a4e-3c96e4410998" providerId="ADAL" clId="{E5FA7755-4464-4339-8923-4731CE90646D}" dt="2023-12-04T14:05:11.103" v="8379" actId="6549"/>
        <pc:sldMkLst>
          <pc:docMk/>
          <pc:sldMk cId="3407670944" sldId="2147478894"/>
        </pc:sldMkLst>
        <pc:spChg chg="mod">
          <ac:chgData name="Maximilian Maier" userId="2dea75bf-1e61-418a-9a4e-3c96e4410998" providerId="ADAL" clId="{E5FA7755-4464-4339-8923-4731CE90646D}" dt="2023-12-04T13:24:50.934" v="7766" actId="20577"/>
          <ac:spMkLst>
            <pc:docMk/>
            <pc:sldMk cId="3407670944" sldId="2147478894"/>
            <ac:spMk id="3" creationId="{81C40B1B-02CB-4B28-886F-B4CB6AB72BDE}"/>
          </ac:spMkLst>
        </pc:spChg>
        <pc:spChg chg="mod">
          <ac:chgData name="Maximilian Maier" userId="2dea75bf-1e61-418a-9a4e-3c96e4410998" providerId="ADAL" clId="{E5FA7755-4464-4339-8923-4731CE90646D}" dt="2023-12-04T14:05:11.103" v="8379" actId="6549"/>
          <ac:spMkLst>
            <pc:docMk/>
            <pc:sldMk cId="3407670944" sldId="2147478894"/>
            <ac:spMk id="11" creationId="{EB35BE25-B7BC-BC6C-BA23-FA1DC855F409}"/>
          </ac:spMkLst>
        </pc:spChg>
      </pc:sldChg>
      <pc:sldChg chg="delSp modSp add mod ord modAnim">
        <pc:chgData name="Maximilian Maier" userId="2dea75bf-1e61-418a-9a4e-3c96e4410998" providerId="ADAL" clId="{E5FA7755-4464-4339-8923-4731CE90646D}" dt="2023-12-04T13:58:45.601" v="8204" actId="6549"/>
        <pc:sldMkLst>
          <pc:docMk/>
          <pc:sldMk cId="2631638117" sldId="2147478895"/>
        </pc:sldMkLst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" creationId="{91144E44-C656-167D-0B48-9ECD053CBEF3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4" creationId="{06331716-F259-187E-C35B-6A13E5C7F211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5" creationId="{B549E951-F3E5-3159-F7A2-E5082C09ABE9}"/>
          </ac:spMkLst>
        </pc:spChg>
        <pc:spChg chg="mod">
          <ac:chgData name="Maximilian Maier" userId="2dea75bf-1e61-418a-9a4e-3c96e4410998" providerId="ADAL" clId="{E5FA7755-4464-4339-8923-4731CE90646D}" dt="2023-12-04T11:59:59.318" v="7277" actId="20577"/>
          <ac:spMkLst>
            <pc:docMk/>
            <pc:sldMk cId="2631638117" sldId="2147478895"/>
            <ac:spMk id="20" creationId="{5D67C96F-F450-CFB4-57AF-62668D34C22D}"/>
          </ac:spMkLst>
        </pc:spChg>
        <pc:spChg chg="mod">
          <ac:chgData name="Maximilian Maier" userId="2dea75bf-1e61-418a-9a4e-3c96e4410998" providerId="ADAL" clId="{E5FA7755-4464-4339-8923-4731CE90646D}" dt="2023-12-04T13:58:45.601" v="8204" actId="6549"/>
          <ac:spMkLst>
            <pc:docMk/>
            <pc:sldMk cId="2631638117" sldId="2147478895"/>
            <ac:spMk id="22" creationId="{2430BE0A-ECF2-3ACB-16E4-2CA265AFFA6A}"/>
          </ac:spMkLst>
        </pc:spChg>
        <pc:spChg chg="del mod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4" creationId="{FFBA82E6-583C-0EDE-6F5C-24671E73D2CD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5" creationId="{BEC006CF-C2E2-D2EA-AFED-5C386A8634AE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6" creationId="{BA5802DE-0F40-7834-A84F-271677B08F6A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7" creationId="{5AEECE9B-C788-34FF-DF55-009AD969FBA9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8" creationId="{2DA69DD9-6689-B065-3E4C-533CD4443A0C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29" creationId="{8CB87233-D3BF-ADE0-0997-65479575D43D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0" creationId="{70B90C52-D99A-0F36-69BA-8B2D10C707F4}"/>
          </ac:spMkLst>
        </pc:spChg>
        <pc:spChg chg="del">
          <ac:chgData name="Maximilian Maier" userId="2dea75bf-1e61-418a-9a4e-3c96e4410998" providerId="ADAL" clId="{E5FA7755-4464-4339-8923-4731CE90646D}" dt="2023-12-04T11:59:34.350" v="7253" actId="478"/>
          <ac:spMkLst>
            <pc:docMk/>
            <pc:sldMk cId="2631638117" sldId="2147478895"/>
            <ac:spMk id="31" creationId="{BCF897DA-93C1-F565-D3F6-436EA73A866A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3" creationId="{FAEA6864-009C-5958-2D39-97F1BFCB2001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4" creationId="{E81BEB40-04B3-4D46-B450-ECFCB94647BB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5" creationId="{B6CF3EED-8891-B0D5-7F22-32F00350DD53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6" creationId="{057E8CFE-9901-E4B6-080B-8E0137983CF4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7" creationId="{B7B7114C-929C-547B-AD4F-48AA9917FA8A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8" creationId="{8A8667BA-9693-E365-45DD-1C4A735735FE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39" creationId="{B06A7B38-E3B2-8161-4E90-5DD41D6DDD13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0" creationId="{29080118-9BF1-F7DF-E1D1-FCD268B64A93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1" creationId="{BAA0D23C-5C96-F7D1-0F71-CC4B3848889D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2" creationId="{AC5FD745-D746-B5C4-26A1-8417563079CE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3" creationId="{EAA59C2D-60FB-AABD-3F4A-13350FE47754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4" creationId="{BD89AF96-BF3A-ED6E-81CC-10058FD03F2B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5" creationId="{71553FF5-87CB-9F2C-4DD2-524E36355777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46" creationId="{B2872BF3-5CE3-7007-15D5-7DF6AB4CD4B8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49" creationId="{FBEFA702-2317-707E-353F-862DCF83F8DC}"/>
          </ac:spMkLst>
        </pc:spChg>
        <pc:spChg chg="del">
          <ac:chgData name="Maximilian Maier" userId="2dea75bf-1e61-418a-9a4e-3c96e4410998" providerId="ADAL" clId="{E5FA7755-4464-4339-8923-4731CE90646D}" dt="2023-12-04T11:58:53.749" v="7251" actId="478"/>
          <ac:spMkLst>
            <pc:docMk/>
            <pc:sldMk cId="2631638117" sldId="2147478895"/>
            <ac:spMk id="50" creationId="{D7890100-6A45-DB4F-EBED-086AFD8CAA5D}"/>
          </ac:spMkLst>
        </pc:spChg>
        <pc:spChg chg="del">
          <ac:chgData name="Maximilian Maier" userId="2dea75bf-1e61-418a-9a4e-3c96e4410998" providerId="ADAL" clId="{E5FA7755-4464-4339-8923-4731CE90646D}" dt="2023-12-04T11:59:00.514" v="7252" actId="478"/>
          <ac:spMkLst>
            <pc:docMk/>
            <pc:sldMk cId="2631638117" sldId="2147478895"/>
            <ac:spMk id="51" creationId="{C2A0251E-C260-9056-8C19-E00886EEC5B2}"/>
          </ac:spMkLst>
        </pc:spChg>
        <pc:spChg chg="mod">
          <ac:chgData name="Maximilian Maier" userId="2dea75bf-1e61-418a-9a4e-3c96e4410998" providerId="ADAL" clId="{E5FA7755-4464-4339-8923-4731CE90646D}" dt="2023-12-04T12:00:27.104" v="7323" actId="20577"/>
          <ac:spMkLst>
            <pc:docMk/>
            <pc:sldMk cId="2631638117" sldId="2147478895"/>
            <ac:spMk id="57" creationId="{5AFE1A44-B184-503E-4BF7-E200C7DAE8A6}"/>
          </ac:spMkLst>
        </pc:spChg>
      </pc:sldChg>
      <pc:sldChg chg="add del">
        <pc:chgData name="Maximilian Maier" userId="2dea75bf-1e61-418a-9a4e-3c96e4410998" providerId="ADAL" clId="{E5FA7755-4464-4339-8923-4731CE90646D}" dt="2023-12-04T12:00:33.243" v="7325" actId="47"/>
        <pc:sldMkLst>
          <pc:docMk/>
          <pc:sldMk cId="3688238807" sldId="2147478896"/>
        </pc:sldMkLst>
      </pc:sldChg>
      <pc:sldChg chg="addSp delSp modSp add mod ord delAnim modAnim">
        <pc:chgData name="Maximilian Maier" userId="2dea75bf-1e61-418a-9a4e-3c96e4410998" providerId="ADAL" clId="{E5FA7755-4464-4339-8923-4731CE90646D}" dt="2023-12-04T13:14:38.059" v="7637" actId="20577"/>
        <pc:sldMkLst>
          <pc:docMk/>
          <pc:sldMk cId="3927277076" sldId="2147478897"/>
        </pc:sldMkLst>
        <pc:spChg chg="mod">
          <ac:chgData name="Maximilian Maier" userId="2dea75bf-1e61-418a-9a4e-3c96e4410998" providerId="ADAL" clId="{E5FA7755-4464-4339-8923-4731CE90646D}" dt="2023-12-04T13:14:38.059" v="7637" actId="20577"/>
          <ac:spMkLst>
            <pc:docMk/>
            <pc:sldMk cId="3927277076" sldId="2147478897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3:01:37.977" v="7485"/>
          <ac:spMkLst>
            <pc:docMk/>
            <pc:sldMk cId="3927277076" sldId="2147478897"/>
            <ac:spMk id="3" creationId="{9A376712-B125-DE39-3B08-D755A60E3B2C}"/>
          </ac:spMkLst>
        </pc:spChg>
        <pc:spChg chg="mod">
          <ac:chgData name="Maximilian Maier" userId="2dea75bf-1e61-418a-9a4e-3c96e4410998" providerId="ADAL" clId="{E5FA7755-4464-4339-8923-4731CE90646D}" dt="2023-12-04T13:01:37.977" v="7485"/>
          <ac:spMkLst>
            <pc:docMk/>
            <pc:sldMk cId="3927277076" sldId="2147478897"/>
            <ac:spMk id="4" creationId="{17FB06A5-5789-2CF2-E31B-019DF8DBC062}"/>
          </ac:spMkLst>
        </pc:spChg>
        <pc:spChg chg="del mod">
          <ac:chgData name="Maximilian Maier" userId="2dea75bf-1e61-418a-9a4e-3c96e4410998" providerId="ADAL" clId="{E5FA7755-4464-4339-8923-4731CE90646D}" dt="2023-12-04T12:12:50.336" v="7472" actId="478"/>
          <ac:spMkLst>
            <pc:docMk/>
            <pc:sldMk cId="3927277076" sldId="2147478897"/>
            <ac:spMk id="5" creationId="{F3250CF2-9D95-6945-BF55-2FAA93E215F5}"/>
          </ac:spMkLst>
        </pc:spChg>
        <pc:spChg chg="del mod">
          <ac:chgData name="Maximilian Maier" userId="2dea75bf-1e61-418a-9a4e-3c96e4410998" providerId="ADAL" clId="{E5FA7755-4464-4339-8923-4731CE90646D}" dt="2023-12-04T12:12:48.410" v="7470" actId="478"/>
          <ac:spMkLst>
            <pc:docMk/>
            <pc:sldMk cId="3927277076" sldId="2147478897"/>
            <ac:spMk id="6" creationId="{6E5975FA-AD54-0DA0-82E4-86CC74BFD31B}"/>
          </ac:spMkLst>
        </pc:spChg>
        <pc:spChg chg="add mod">
          <ac:chgData name="Maximilian Maier" userId="2dea75bf-1e61-418a-9a4e-3c96e4410998" providerId="ADAL" clId="{E5FA7755-4464-4339-8923-4731CE90646D}" dt="2023-12-04T13:02:04.621" v="7492" actId="14100"/>
          <ac:spMkLst>
            <pc:docMk/>
            <pc:sldMk cId="3927277076" sldId="2147478897"/>
            <ac:spMk id="7" creationId="{07284A90-98CC-8B14-5D2B-D41E6716A8C4}"/>
          </ac:spMkLst>
        </pc:spChg>
        <pc:spChg chg="add del mod">
          <ac:chgData name="Maximilian Maier" userId="2dea75bf-1e61-418a-9a4e-3c96e4410998" providerId="ADAL" clId="{E5FA7755-4464-4339-8923-4731CE90646D}" dt="2023-12-04T13:01:37.977" v="7485"/>
          <ac:spMkLst>
            <pc:docMk/>
            <pc:sldMk cId="3927277076" sldId="2147478897"/>
            <ac:spMk id="9" creationId="{E364239D-0FD6-F090-7DC1-7D4C27CCDC59}"/>
          </ac:spMkLst>
        </pc:spChg>
        <pc:spChg chg="add del mod">
          <ac:chgData name="Maximilian Maier" userId="2dea75bf-1e61-418a-9a4e-3c96e4410998" providerId="ADAL" clId="{E5FA7755-4464-4339-8923-4731CE90646D}" dt="2023-12-04T13:01:37.977" v="7485"/>
          <ac:spMkLst>
            <pc:docMk/>
            <pc:sldMk cId="3927277076" sldId="2147478897"/>
            <ac:spMk id="10" creationId="{0D7F3641-EF06-C98B-86D1-D7E26C485FF9}"/>
          </ac:spMkLst>
        </pc:spChg>
        <pc:spChg chg="add del mod">
          <ac:chgData name="Maximilian Maier" userId="2dea75bf-1e61-418a-9a4e-3c96e4410998" providerId="ADAL" clId="{E5FA7755-4464-4339-8923-4731CE90646D}" dt="2023-12-04T13:01:37.977" v="7485"/>
          <ac:spMkLst>
            <pc:docMk/>
            <pc:sldMk cId="3927277076" sldId="2147478897"/>
            <ac:spMk id="11" creationId="{B8DB1DC9-FA6A-6087-AE2C-D6FEA62D3E1B}"/>
          </ac:spMkLst>
        </pc:spChg>
        <pc:spChg chg="add del mod">
          <ac:chgData name="Maximilian Maier" userId="2dea75bf-1e61-418a-9a4e-3c96e4410998" providerId="ADAL" clId="{E5FA7755-4464-4339-8923-4731CE90646D}" dt="2023-12-04T13:01:46.676" v="7488" actId="478"/>
          <ac:spMkLst>
            <pc:docMk/>
            <pc:sldMk cId="3927277076" sldId="2147478897"/>
            <ac:spMk id="12" creationId="{614702A5-7673-6349-2DD1-573397B1010B}"/>
          </ac:spMkLst>
        </pc:spChg>
        <pc:spChg chg="add mod">
          <ac:chgData name="Maximilian Maier" userId="2dea75bf-1e61-418a-9a4e-3c96e4410998" providerId="ADAL" clId="{E5FA7755-4464-4339-8923-4731CE90646D}" dt="2023-12-04T13:02:15.391" v="7502" actId="20577"/>
          <ac:spMkLst>
            <pc:docMk/>
            <pc:sldMk cId="3927277076" sldId="2147478897"/>
            <ac:spMk id="13" creationId="{16D4D417-21BD-1F1F-AEE9-B6F4809AD060}"/>
          </ac:spMkLst>
        </pc:spChg>
        <pc:spChg chg="add mod">
          <ac:chgData name="Maximilian Maier" userId="2dea75bf-1e61-418a-9a4e-3c96e4410998" providerId="ADAL" clId="{E5FA7755-4464-4339-8923-4731CE90646D}" dt="2023-12-04T13:03:48.023" v="7522" actId="14100"/>
          <ac:spMkLst>
            <pc:docMk/>
            <pc:sldMk cId="3927277076" sldId="2147478897"/>
            <ac:spMk id="14" creationId="{4A85881E-C3C3-92BC-7E88-1FE3A6ADB522}"/>
          </ac:spMkLst>
        </pc:spChg>
        <pc:spChg chg="add mod">
          <ac:chgData name="Maximilian Maier" userId="2dea75bf-1e61-418a-9a4e-3c96e4410998" providerId="ADAL" clId="{E5FA7755-4464-4339-8923-4731CE90646D}" dt="2023-12-04T13:02:26.445" v="7515" actId="20577"/>
          <ac:spMkLst>
            <pc:docMk/>
            <pc:sldMk cId="3927277076" sldId="2147478897"/>
            <ac:spMk id="15" creationId="{A3DD1D73-459D-0A31-EBBE-3CA8DC872752}"/>
          </ac:spMkLst>
        </pc:spChg>
        <pc:spChg chg="add mod">
          <ac:chgData name="Maximilian Maier" userId="2dea75bf-1e61-418a-9a4e-3c96e4410998" providerId="ADAL" clId="{E5FA7755-4464-4339-8923-4731CE90646D}" dt="2023-12-04T13:03:50.969" v="7524" actId="1076"/>
          <ac:spMkLst>
            <pc:docMk/>
            <pc:sldMk cId="3927277076" sldId="2147478897"/>
            <ac:spMk id="19" creationId="{E29710EA-9F60-F2BF-2EC1-EF8CD7D0F1B5}"/>
          </ac:spMkLst>
        </pc:spChg>
        <pc:spChg chg="add mod">
          <ac:chgData name="Maximilian Maier" userId="2dea75bf-1e61-418a-9a4e-3c96e4410998" providerId="ADAL" clId="{E5FA7755-4464-4339-8923-4731CE90646D}" dt="2023-12-04T13:03:58.970" v="7526" actId="1076"/>
          <ac:spMkLst>
            <pc:docMk/>
            <pc:sldMk cId="3927277076" sldId="2147478897"/>
            <ac:spMk id="20" creationId="{638C7C9C-4190-6E58-C037-806D76CC6339}"/>
          </ac:spMkLst>
        </pc:spChg>
        <pc:spChg chg="add mod">
          <ac:chgData name="Maximilian Maier" userId="2dea75bf-1e61-418a-9a4e-3c96e4410998" providerId="ADAL" clId="{E5FA7755-4464-4339-8923-4731CE90646D}" dt="2023-12-04T13:06:28.463" v="7570" actId="1076"/>
          <ac:spMkLst>
            <pc:docMk/>
            <pc:sldMk cId="3927277076" sldId="2147478897"/>
            <ac:spMk id="24" creationId="{F46AA63E-6A06-4348-1EC8-FC3B50FE6A06}"/>
          </ac:spMkLst>
        </pc:spChg>
        <pc:spChg chg="add mod">
          <ac:chgData name="Maximilian Maier" userId="2dea75bf-1e61-418a-9a4e-3c96e4410998" providerId="ADAL" clId="{E5FA7755-4464-4339-8923-4731CE90646D}" dt="2023-12-04T13:11:57.520" v="7602" actId="1076"/>
          <ac:spMkLst>
            <pc:docMk/>
            <pc:sldMk cId="3927277076" sldId="2147478897"/>
            <ac:spMk id="25" creationId="{EA92C545-D99E-5652-2878-57FCFFB0B2E2}"/>
          </ac:spMkLst>
        </pc:spChg>
        <pc:picChg chg="add del mod">
          <ac:chgData name="Maximilian Maier" userId="2dea75bf-1e61-418a-9a4e-3c96e4410998" providerId="ADAL" clId="{E5FA7755-4464-4339-8923-4731CE90646D}" dt="2023-12-04T13:01:27.910" v="7482" actId="478"/>
          <ac:picMkLst>
            <pc:docMk/>
            <pc:sldMk cId="3927277076" sldId="2147478897"/>
            <ac:picMk id="8" creationId="{6A01A12B-4EAD-69F3-9285-8DFF30F414E2}"/>
          </ac:picMkLst>
        </pc:picChg>
        <pc:picChg chg="add del mod">
          <ac:chgData name="Maximilian Maier" userId="2dea75bf-1e61-418a-9a4e-3c96e4410998" providerId="ADAL" clId="{E5FA7755-4464-4339-8923-4731CE90646D}" dt="2023-12-04T13:03:02.541" v="7517" actId="478"/>
          <ac:picMkLst>
            <pc:docMk/>
            <pc:sldMk cId="3927277076" sldId="2147478897"/>
            <ac:picMk id="16" creationId="{9182B1A2-6C3A-AE6C-6325-21051E185519}"/>
          </ac:picMkLst>
        </pc:picChg>
        <pc:picChg chg="add mod">
          <ac:chgData name="Maximilian Maier" userId="2dea75bf-1e61-418a-9a4e-3c96e4410998" providerId="ADAL" clId="{E5FA7755-4464-4339-8923-4731CE90646D}" dt="2023-12-04T13:08:36.657" v="7580" actId="1076"/>
          <ac:picMkLst>
            <pc:docMk/>
            <pc:sldMk cId="3927277076" sldId="2147478897"/>
            <ac:picMk id="18" creationId="{6816781D-A427-2F5D-7EF9-A7526B2CF0F0}"/>
          </ac:picMkLst>
        </pc:picChg>
        <pc:picChg chg="add mod">
          <ac:chgData name="Maximilian Maier" userId="2dea75bf-1e61-418a-9a4e-3c96e4410998" providerId="ADAL" clId="{E5FA7755-4464-4339-8923-4731CE90646D}" dt="2023-12-04T13:06:30.745" v="7571" actId="1076"/>
          <ac:picMkLst>
            <pc:docMk/>
            <pc:sldMk cId="3927277076" sldId="2147478897"/>
            <ac:picMk id="21" creationId="{549CCC85-4E4A-64F1-AB07-6138CFB920E0}"/>
          </ac:picMkLst>
        </pc:picChg>
        <pc:picChg chg="add del mod">
          <ac:chgData name="Maximilian Maier" userId="2dea75bf-1e61-418a-9a4e-3c96e4410998" providerId="ADAL" clId="{E5FA7755-4464-4339-8923-4731CE90646D}" dt="2023-12-04T13:05:59.687" v="7544" actId="478"/>
          <ac:picMkLst>
            <pc:docMk/>
            <pc:sldMk cId="3927277076" sldId="2147478897"/>
            <ac:picMk id="22" creationId="{7CD39392-23A4-F791-C735-0A5C4C50215A}"/>
          </ac:picMkLst>
        </pc:picChg>
        <pc:picChg chg="add mod">
          <ac:chgData name="Maximilian Maier" userId="2dea75bf-1e61-418a-9a4e-3c96e4410998" providerId="ADAL" clId="{E5FA7755-4464-4339-8923-4731CE90646D}" dt="2023-12-04T13:06:25.114" v="7569" actId="1076"/>
          <ac:picMkLst>
            <pc:docMk/>
            <pc:sldMk cId="3927277076" sldId="2147478897"/>
            <ac:picMk id="23" creationId="{F75341E0-89DA-0590-2DC8-48EFEAEE9880}"/>
          </ac:picMkLst>
        </pc:picChg>
        <pc:picChg chg="add mod">
          <ac:chgData name="Maximilian Maier" userId="2dea75bf-1e61-418a-9a4e-3c96e4410998" providerId="ADAL" clId="{E5FA7755-4464-4339-8923-4731CE90646D}" dt="2023-12-04T13:12:20.543" v="7606" actId="1076"/>
          <ac:picMkLst>
            <pc:docMk/>
            <pc:sldMk cId="3927277076" sldId="2147478897"/>
            <ac:picMk id="26" creationId="{28C2139F-DBE8-8582-E8BC-172A101BE740}"/>
          </ac:picMkLst>
        </pc:picChg>
        <pc:picChg chg="add mod">
          <ac:chgData name="Maximilian Maier" userId="2dea75bf-1e61-418a-9a4e-3c96e4410998" providerId="ADAL" clId="{E5FA7755-4464-4339-8923-4731CE90646D}" dt="2023-12-04T13:12:23.408" v="7608" actId="1076"/>
          <ac:picMkLst>
            <pc:docMk/>
            <pc:sldMk cId="3927277076" sldId="2147478897"/>
            <ac:picMk id="27" creationId="{DCC74A7C-5179-8FFE-2E23-FCA4447C65C1}"/>
          </ac:picMkLst>
        </pc:picChg>
        <pc:picChg chg="add mod">
          <ac:chgData name="Maximilian Maier" userId="2dea75bf-1e61-418a-9a4e-3c96e4410998" providerId="ADAL" clId="{E5FA7755-4464-4339-8923-4731CE90646D}" dt="2023-12-04T13:12:43.685" v="7610" actId="1076"/>
          <ac:picMkLst>
            <pc:docMk/>
            <pc:sldMk cId="3927277076" sldId="2147478897"/>
            <ac:picMk id="28" creationId="{409614A2-77DA-A3AE-D273-01457DAD1A1D}"/>
          </ac:picMkLst>
        </pc:picChg>
        <pc:picChg chg="add del mod">
          <ac:chgData name="Maximilian Maier" userId="2dea75bf-1e61-418a-9a4e-3c96e4410998" providerId="ADAL" clId="{E5FA7755-4464-4339-8923-4731CE90646D}" dt="2023-12-04T13:14:01.784" v="7620" actId="478"/>
          <ac:picMkLst>
            <pc:docMk/>
            <pc:sldMk cId="3927277076" sldId="2147478897"/>
            <ac:picMk id="29" creationId="{4D11F064-2729-0256-26F5-9F96F1456FF8}"/>
          </ac:picMkLst>
        </pc:picChg>
        <pc:picChg chg="add mod">
          <ac:chgData name="Maximilian Maier" userId="2dea75bf-1e61-418a-9a4e-3c96e4410998" providerId="ADAL" clId="{E5FA7755-4464-4339-8923-4731CE90646D}" dt="2023-12-04T13:13:28.401" v="7617" actId="1076"/>
          <ac:picMkLst>
            <pc:docMk/>
            <pc:sldMk cId="3927277076" sldId="2147478897"/>
            <ac:picMk id="30" creationId="{8254DD48-92E8-F865-515F-585A2BB8F81B}"/>
          </ac:picMkLst>
        </pc:picChg>
      </pc:sldChg>
      <pc:sldChg chg="addSp delSp modSp add mod ord delAnim modAnim">
        <pc:chgData name="Maximilian Maier" userId="2dea75bf-1e61-418a-9a4e-3c96e4410998" providerId="ADAL" clId="{E5FA7755-4464-4339-8923-4731CE90646D}" dt="2023-12-05T14:24:14.708" v="9425" actId="1076"/>
        <pc:sldMkLst>
          <pc:docMk/>
          <pc:sldMk cId="3718084089" sldId="2147478898"/>
        </pc:sldMkLst>
        <pc:spChg chg="mod">
          <ac:chgData name="Maximilian Maier" userId="2dea75bf-1e61-418a-9a4e-3c96e4410998" providerId="ADAL" clId="{E5FA7755-4464-4339-8923-4731CE90646D}" dt="2023-12-05T11:03:20.763" v="9421" actId="14100"/>
          <ac:spMkLst>
            <pc:docMk/>
            <pc:sldMk cId="3718084089" sldId="2147478898"/>
            <ac:spMk id="5" creationId="{F3250CF2-9D95-6945-BF55-2FAA93E215F5}"/>
          </ac:spMkLst>
        </pc:spChg>
        <pc:spChg chg="del mod">
          <ac:chgData name="Maximilian Maier" userId="2dea75bf-1e61-418a-9a4e-3c96e4410998" providerId="ADAL" clId="{E5FA7755-4464-4339-8923-4731CE90646D}" dt="2023-12-05T10:59:44.623" v="9363" actId="478"/>
          <ac:spMkLst>
            <pc:docMk/>
            <pc:sldMk cId="3718084089" sldId="2147478898"/>
            <ac:spMk id="6" creationId="{6E5975FA-AD54-0DA0-82E4-86CC74BFD31B}"/>
          </ac:spMkLst>
        </pc:spChg>
        <pc:picChg chg="add del mod">
          <ac:chgData name="Maximilian Maier" userId="2dea75bf-1e61-418a-9a4e-3c96e4410998" providerId="ADAL" clId="{E5FA7755-4464-4339-8923-4731CE90646D}" dt="2023-12-05T11:02:04.121" v="9369" actId="478"/>
          <ac:picMkLst>
            <pc:docMk/>
            <pc:sldMk cId="3718084089" sldId="2147478898"/>
            <ac:picMk id="8" creationId="{86EA1FA3-6976-C244-5F5E-6512090F87AF}"/>
          </ac:picMkLst>
        </pc:picChg>
        <pc:picChg chg="add mod">
          <ac:chgData name="Maximilian Maier" userId="2dea75bf-1e61-418a-9a4e-3c96e4410998" providerId="ADAL" clId="{E5FA7755-4464-4339-8923-4731CE90646D}" dt="2023-12-05T14:24:14.708" v="9425" actId="1076"/>
          <ac:picMkLst>
            <pc:docMk/>
            <pc:sldMk cId="3718084089" sldId="2147478898"/>
            <ac:picMk id="10" creationId="{19BCAF4B-0556-167A-FF18-B18B65F3D1BC}"/>
          </ac:picMkLst>
        </pc:picChg>
      </pc:sldChg>
      <pc:sldChg chg="modSp add mod">
        <pc:chgData name="Maximilian Maier" userId="2dea75bf-1e61-418a-9a4e-3c96e4410998" providerId="ADAL" clId="{E5FA7755-4464-4339-8923-4731CE90646D}" dt="2023-12-04T13:43:23.725" v="8060" actId="6549"/>
        <pc:sldMkLst>
          <pc:docMk/>
          <pc:sldMk cId="2936961806" sldId="2147478899"/>
        </pc:sldMkLst>
        <pc:spChg chg="mod">
          <ac:chgData name="Maximilian Maier" userId="2dea75bf-1e61-418a-9a4e-3c96e4410998" providerId="ADAL" clId="{E5FA7755-4464-4339-8923-4731CE90646D}" dt="2023-12-04T13:21:30.860" v="7718" actId="20577"/>
          <ac:spMkLst>
            <pc:docMk/>
            <pc:sldMk cId="2936961806" sldId="2147478899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3:43:23.725" v="8060" actId="6549"/>
          <ac:spMkLst>
            <pc:docMk/>
            <pc:sldMk cId="2936961806" sldId="2147478899"/>
            <ac:spMk id="6" creationId="{6D0F0B95-2292-94CE-3481-CC4ED41030A9}"/>
          </ac:spMkLst>
        </pc:spChg>
      </pc:sldChg>
      <pc:sldChg chg="modSp add mod ord">
        <pc:chgData name="Maximilian Maier" userId="2dea75bf-1e61-418a-9a4e-3c96e4410998" providerId="ADAL" clId="{E5FA7755-4464-4339-8923-4731CE90646D}" dt="2023-12-04T13:43:42.624" v="8119" actId="20577"/>
        <pc:sldMkLst>
          <pc:docMk/>
          <pc:sldMk cId="1042823821" sldId="2147478900"/>
        </pc:sldMkLst>
        <pc:spChg chg="mod">
          <ac:chgData name="Maximilian Maier" userId="2dea75bf-1e61-418a-9a4e-3c96e4410998" providerId="ADAL" clId="{E5FA7755-4464-4339-8923-4731CE90646D}" dt="2023-12-04T13:33:25.328" v="7856" actId="20577"/>
          <ac:spMkLst>
            <pc:docMk/>
            <pc:sldMk cId="1042823821" sldId="2147478900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3:43:42.624" v="8119" actId="20577"/>
          <ac:spMkLst>
            <pc:docMk/>
            <pc:sldMk cId="1042823821" sldId="2147478900"/>
            <ac:spMk id="6" creationId="{6D0F0B95-2292-94CE-3481-CC4ED41030A9}"/>
          </ac:spMkLst>
        </pc:spChg>
      </pc:sldChg>
      <pc:sldChg chg="modSp new mod ord">
        <pc:chgData name="Maximilian Maier" userId="2dea75bf-1e61-418a-9a4e-3c96e4410998" providerId="ADAL" clId="{E5FA7755-4464-4339-8923-4731CE90646D}" dt="2023-12-04T14:53:19.127" v="9072" actId="403"/>
        <pc:sldMkLst>
          <pc:docMk/>
          <pc:sldMk cId="3339346229" sldId="2147478901"/>
        </pc:sldMkLst>
        <pc:spChg chg="mod">
          <ac:chgData name="Maximilian Maier" userId="2dea75bf-1e61-418a-9a4e-3c96e4410998" providerId="ADAL" clId="{E5FA7755-4464-4339-8923-4731CE90646D}" dt="2023-12-04T14:53:19.127" v="9072" actId="403"/>
          <ac:spMkLst>
            <pc:docMk/>
            <pc:sldMk cId="3339346229" sldId="2147478901"/>
            <ac:spMk id="2" creationId="{349E3222-7520-278B-0C1A-F3739993CD48}"/>
          </ac:spMkLst>
        </pc:spChg>
      </pc:sldChg>
      <pc:sldChg chg="add del">
        <pc:chgData name="Maximilian Maier" userId="2dea75bf-1e61-418a-9a4e-3c96e4410998" providerId="ADAL" clId="{E5FA7755-4464-4339-8923-4731CE90646D}" dt="2023-12-04T13:33:12.022" v="7831" actId="47"/>
        <pc:sldMkLst>
          <pc:docMk/>
          <pc:sldMk cId="3779744414" sldId="2147478901"/>
        </pc:sldMkLst>
      </pc:sldChg>
      <pc:sldChg chg="new">
        <pc:chgData name="Maximilian Maier" userId="2dea75bf-1e61-418a-9a4e-3c96e4410998" providerId="ADAL" clId="{E5FA7755-4464-4339-8923-4731CE90646D}" dt="2023-12-04T13:33:39.570" v="7858" actId="680"/>
        <pc:sldMkLst>
          <pc:docMk/>
          <pc:sldMk cId="1967370412" sldId="2147478902"/>
        </pc:sldMkLst>
      </pc:sldChg>
      <pc:sldChg chg="modSp add mod">
        <pc:chgData name="Maximilian Maier" userId="2dea75bf-1e61-418a-9a4e-3c96e4410998" providerId="ADAL" clId="{E5FA7755-4464-4339-8923-4731CE90646D}" dt="2023-12-04T13:42:47.167" v="7995" actId="6549"/>
        <pc:sldMkLst>
          <pc:docMk/>
          <pc:sldMk cId="1836127167" sldId="2147478903"/>
        </pc:sldMkLst>
        <pc:spChg chg="mod">
          <ac:chgData name="Maximilian Maier" userId="2dea75bf-1e61-418a-9a4e-3c96e4410998" providerId="ADAL" clId="{E5FA7755-4464-4339-8923-4731CE90646D}" dt="2023-12-04T13:42:22.025" v="7994" actId="20577"/>
          <ac:spMkLst>
            <pc:docMk/>
            <pc:sldMk cId="1836127167" sldId="2147478903"/>
            <ac:spMk id="2" creationId="{D02EA3BB-9610-9535-7372-00F25D67FC13}"/>
          </ac:spMkLst>
        </pc:spChg>
        <pc:spChg chg="mod">
          <ac:chgData name="Maximilian Maier" userId="2dea75bf-1e61-418a-9a4e-3c96e4410998" providerId="ADAL" clId="{E5FA7755-4464-4339-8923-4731CE90646D}" dt="2023-12-04T13:42:47.167" v="7995" actId="6549"/>
          <ac:spMkLst>
            <pc:docMk/>
            <pc:sldMk cId="1836127167" sldId="2147478903"/>
            <ac:spMk id="6" creationId="{6D0F0B95-2292-94CE-3481-CC4ED41030A9}"/>
          </ac:spMkLst>
        </pc:spChg>
      </pc:sldChg>
      <pc:sldChg chg="modSp new del mod">
        <pc:chgData name="Maximilian Maier" userId="2dea75bf-1e61-418a-9a4e-3c96e4410998" providerId="ADAL" clId="{E5FA7755-4464-4339-8923-4731CE90646D}" dt="2023-12-04T13:47:09.097" v="8158" actId="47"/>
        <pc:sldMkLst>
          <pc:docMk/>
          <pc:sldMk cId="622059662" sldId="2147478904"/>
        </pc:sldMkLst>
        <pc:spChg chg="mod">
          <ac:chgData name="Maximilian Maier" userId="2dea75bf-1e61-418a-9a4e-3c96e4410998" providerId="ADAL" clId="{E5FA7755-4464-4339-8923-4731CE90646D}" dt="2023-12-04T13:47:02.032" v="8157" actId="20577"/>
          <ac:spMkLst>
            <pc:docMk/>
            <pc:sldMk cId="622059662" sldId="2147478904"/>
            <ac:spMk id="3" creationId="{592E12F8-DD5D-556A-2DA5-65EC5748FA30}"/>
          </ac:spMkLst>
        </pc:spChg>
        <pc:spChg chg="mod">
          <ac:chgData name="Maximilian Maier" userId="2dea75bf-1e61-418a-9a4e-3c96e4410998" providerId="ADAL" clId="{E5FA7755-4464-4339-8923-4731CE90646D}" dt="2023-12-04T13:47:00.949" v="8147" actId="20577"/>
          <ac:spMkLst>
            <pc:docMk/>
            <pc:sldMk cId="622059662" sldId="2147478904"/>
            <ac:spMk id="5" creationId="{B844C009-7103-D626-109E-1544F98F770F}"/>
          </ac:spMkLst>
        </pc:spChg>
      </pc:sldChg>
      <pc:sldChg chg="addSp modSp add mod ord">
        <pc:chgData name="Maximilian Maier" userId="2dea75bf-1e61-418a-9a4e-3c96e4410998" providerId="ADAL" clId="{E5FA7755-4464-4339-8923-4731CE90646D}" dt="2023-12-04T15:03:47.465" v="9212" actId="20577"/>
        <pc:sldMkLst>
          <pc:docMk/>
          <pc:sldMk cId="2762661717" sldId="2147478904"/>
        </pc:sldMkLst>
        <pc:spChg chg="mod">
          <ac:chgData name="Maximilian Maier" userId="2dea75bf-1e61-418a-9a4e-3c96e4410998" providerId="ADAL" clId="{E5FA7755-4464-4339-8923-4731CE90646D}" dt="2023-12-04T14:45:52.806" v="8467" actId="20577"/>
          <ac:spMkLst>
            <pc:docMk/>
            <pc:sldMk cId="2762661717" sldId="2147478904"/>
            <ac:spMk id="2" creationId="{2BAD2894-2574-C2BC-A4C7-C32FB5F51BB6}"/>
          </ac:spMkLst>
        </pc:spChg>
        <pc:spChg chg="mod">
          <ac:chgData name="Maximilian Maier" userId="2dea75bf-1e61-418a-9a4e-3c96e4410998" providerId="ADAL" clId="{E5FA7755-4464-4339-8923-4731CE90646D}" dt="2023-12-04T15:03:47.465" v="9212" actId="20577"/>
          <ac:spMkLst>
            <pc:docMk/>
            <pc:sldMk cId="2762661717" sldId="2147478904"/>
            <ac:spMk id="5" creationId="{71211229-C077-B2F3-53BA-9B9EB673E823}"/>
          </ac:spMkLst>
        </pc:spChg>
        <pc:picChg chg="add mod">
          <ac:chgData name="Maximilian Maier" userId="2dea75bf-1e61-418a-9a4e-3c96e4410998" providerId="ADAL" clId="{E5FA7755-4464-4339-8923-4731CE90646D}" dt="2023-12-04T14:52:47.248" v="9069" actId="1076"/>
          <ac:picMkLst>
            <pc:docMk/>
            <pc:sldMk cId="2762661717" sldId="2147478904"/>
            <ac:picMk id="6" creationId="{386CAFA6-DB5C-E7EC-F568-5625BD3DB316}"/>
          </ac:picMkLst>
        </pc:picChg>
      </pc:sldChg>
      <pc:sldChg chg="addSp delSp modSp add del mod addAnim delAnim modAnim">
        <pc:chgData name="Maximilian Maier" userId="2dea75bf-1e61-418a-9a4e-3c96e4410998" providerId="ADAL" clId="{E5FA7755-4464-4339-8923-4731CE90646D}" dt="2023-12-05T10:10:05.283" v="9349" actId="47"/>
        <pc:sldMkLst>
          <pc:docMk/>
          <pc:sldMk cId="9902627" sldId="2147478905"/>
        </pc:sldMkLst>
        <pc:spChg chg="add mod">
          <ac:chgData name="Maximilian Maier" userId="2dea75bf-1e61-418a-9a4e-3c96e4410998" providerId="ADAL" clId="{E5FA7755-4464-4339-8923-4731CE90646D}" dt="2023-12-04T15:01:05.444" v="9163" actId="1076"/>
          <ac:spMkLst>
            <pc:docMk/>
            <pc:sldMk cId="9902627" sldId="2147478905"/>
            <ac:spMk id="3" creationId="{40700234-1EBD-3243-6F55-0817AF2AE49F}"/>
          </ac:spMkLst>
        </pc:spChg>
        <pc:spChg chg="del">
          <ac:chgData name="Maximilian Maier" userId="2dea75bf-1e61-418a-9a4e-3c96e4410998" providerId="ADAL" clId="{E5FA7755-4464-4339-8923-4731CE90646D}" dt="2023-12-04T15:00:48.536" v="9155" actId="478"/>
          <ac:spMkLst>
            <pc:docMk/>
            <pc:sldMk cId="9902627" sldId="2147478905"/>
            <ac:spMk id="13" creationId="{BB3F21FD-DD2C-312C-3E33-27902DA96343}"/>
          </ac:spMkLst>
        </pc:spChg>
        <pc:spChg chg="add del mod ord">
          <ac:chgData name="Maximilian Maier" userId="2dea75bf-1e61-418a-9a4e-3c96e4410998" providerId="ADAL" clId="{E5FA7755-4464-4339-8923-4731CE90646D}" dt="2023-12-04T15:01:18.489" v="9169" actId="478"/>
          <ac:spMkLst>
            <pc:docMk/>
            <pc:sldMk cId="9902627" sldId="2147478905"/>
            <ac:spMk id="32" creationId="{E56E0086-0A44-8CF1-1256-B62AA86E88F1}"/>
          </ac:spMkLst>
        </pc:spChg>
        <pc:spChg chg="add mod ord">
          <ac:chgData name="Maximilian Maier" userId="2dea75bf-1e61-418a-9a4e-3c96e4410998" providerId="ADAL" clId="{E5FA7755-4464-4339-8923-4731CE90646D}" dt="2023-12-04T15:01:53.789" v="9177" actId="14100"/>
          <ac:spMkLst>
            <pc:docMk/>
            <pc:sldMk cId="9902627" sldId="2147478905"/>
            <ac:spMk id="33" creationId="{97DD797E-731D-8C1C-8DC7-FB6484DDA993}"/>
          </ac:spMkLst>
        </pc:spChg>
        <pc:spChg chg="del">
          <ac:chgData name="Maximilian Maier" userId="2dea75bf-1e61-418a-9a4e-3c96e4410998" providerId="ADAL" clId="{E5FA7755-4464-4339-8923-4731CE90646D}" dt="2023-12-04T15:00:54.092" v="9161" actId="478"/>
          <ac:spMkLst>
            <pc:docMk/>
            <pc:sldMk cId="9902627" sldId="2147478905"/>
            <ac:spMk id="41" creationId="{85D83355-498D-5C59-31B5-A6DD9CE7105D}"/>
          </ac:spMkLst>
        </pc:spChg>
        <pc:spChg chg="mod">
          <ac:chgData name="Maximilian Maier" userId="2dea75bf-1e61-418a-9a4e-3c96e4410998" providerId="ADAL" clId="{E5FA7755-4464-4339-8923-4731CE90646D}" dt="2023-12-04T15:01:59.966" v="9179" actId="1076"/>
          <ac:spMkLst>
            <pc:docMk/>
            <pc:sldMk cId="9902627" sldId="2147478905"/>
            <ac:spMk id="62" creationId="{C350D8FB-F58A-AA34-2143-5F03E9ACF6A0}"/>
          </ac:spMkLst>
        </pc:spChg>
        <pc:spChg chg="mod">
          <ac:chgData name="Maximilian Maier" userId="2dea75bf-1e61-418a-9a4e-3c96e4410998" providerId="ADAL" clId="{E5FA7755-4464-4339-8923-4731CE90646D}" dt="2023-12-04T15:03:21.498" v="9209" actId="20577"/>
          <ac:spMkLst>
            <pc:docMk/>
            <pc:sldMk cId="9902627" sldId="2147478905"/>
            <ac:spMk id="132" creationId="{7BCB5ECA-4505-557F-C5AB-81824B5B7B8A}"/>
          </ac:spMkLst>
        </pc:spChg>
        <pc:spChg chg="mod">
          <ac:chgData name="Maximilian Maier" userId="2dea75bf-1e61-418a-9a4e-3c96e4410998" providerId="ADAL" clId="{E5FA7755-4464-4339-8923-4731CE90646D}" dt="2023-12-04T15:03:05.012" v="9192" actId="14100"/>
          <ac:spMkLst>
            <pc:docMk/>
            <pc:sldMk cId="9902627" sldId="2147478905"/>
            <ac:spMk id="141" creationId="{36E80046-9BBC-D7FC-FB38-27EFB6074788}"/>
          </ac:spMkLst>
        </pc:spChg>
        <pc:grpChg chg="add del">
          <ac:chgData name="Maximilian Maier" userId="2dea75bf-1e61-418a-9a4e-3c96e4410998" providerId="ADAL" clId="{E5FA7755-4464-4339-8923-4731CE90646D}" dt="2023-12-04T15:00:51.553" v="9157" actId="478"/>
          <ac:grpSpMkLst>
            <pc:docMk/>
            <pc:sldMk cId="9902627" sldId="2147478905"/>
            <ac:grpSpMk id="29" creationId="{E03E8B3B-9633-A64A-ABBB-AC66AE66B502}"/>
          </ac:grpSpMkLst>
        </pc:grpChg>
        <pc:picChg chg="add mod">
          <ac:chgData name="Maximilian Maier" userId="2dea75bf-1e61-418a-9a4e-3c96e4410998" providerId="ADAL" clId="{E5FA7755-4464-4339-8923-4731CE90646D}" dt="2023-12-04T15:01:05.444" v="9163" actId="1076"/>
          <ac:picMkLst>
            <pc:docMk/>
            <pc:sldMk cId="9902627" sldId="2147478905"/>
            <ac:picMk id="28" creationId="{2D8AB7CF-BFB8-74E7-6897-02764F73A12E}"/>
          </ac:picMkLst>
        </pc:picChg>
        <pc:picChg chg="add mod">
          <ac:chgData name="Maximilian Maier" userId="2dea75bf-1e61-418a-9a4e-3c96e4410998" providerId="ADAL" clId="{E5FA7755-4464-4339-8923-4731CE90646D}" dt="2023-12-04T15:01:05.444" v="9163" actId="1076"/>
          <ac:picMkLst>
            <pc:docMk/>
            <pc:sldMk cId="9902627" sldId="2147478905"/>
            <ac:picMk id="30" creationId="{D29C8E4D-62D4-4435-2DF3-1CC127A03016}"/>
          </ac:picMkLst>
        </pc:picChg>
        <pc:picChg chg="add mod">
          <ac:chgData name="Maximilian Maier" userId="2dea75bf-1e61-418a-9a4e-3c96e4410998" providerId="ADAL" clId="{E5FA7755-4464-4339-8923-4731CE90646D}" dt="2023-12-04T15:01:41.145" v="9173" actId="1076"/>
          <ac:picMkLst>
            <pc:docMk/>
            <pc:sldMk cId="9902627" sldId="2147478905"/>
            <ac:picMk id="31" creationId="{58E58F21-1FE3-F8E6-A6AF-5601BD852CA9}"/>
          </ac:picMkLst>
        </pc:picChg>
        <pc:picChg chg="del">
          <ac:chgData name="Maximilian Maier" userId="2dea75bf-1e61-418a-9a4e-3c96e4410998" providerId="ADAL" clId="{E5FA7755-4464-4339-8923-4731CE90646D}" dt="2023-12-04T15:00:52.884" v="9158" actId="478"/>
          <ac:picMkLst>
            <pc:docMk/>
            <pc:sldMk cId="9902627" sldId="2147478905"/>
            <ac:picMk id="45" creationId="{951A6AF3-DF24-334D-6748-1D0AA2A55ABF}"/>
          </ac:picMkLst>
        </pc:picChg>
        <pc:picChg chg="del">
          <ac:chgData name="Maximilian Maier" userId="2dea75bf-1e61-418a-9a4e-3c96e4410998" providerId="ADAL" clId="{E5FA7755-4464-4339-8923-4731CE90646D}" dt="2023-12-04T15:00:53.245" v="9159" actId="478"/>
          <ac:picMkLst>
            <pc:docMk/>
            <pc:sldMk cId="9902627" sldId="2147478905"/>
            <ac:picMk id="51" creationId="{51979880-51E8-3F03-BCCC-45F4C55C5F05}"/>
          </ac:picMkLst>
        </pc:picChg>
        <pc:picChg chg="del">
          <ac:chgData name="Maximilian Maier" userId="2dea75bf-1e61-418a-9a4e-3c96e4410998" providerId="ADAL" clId="{E5FA7755-4464-4339-8923-4731CE90646D}" dt="2023-12-04T15:00:53.669" v="9160" actId="478"/>
          <ac:picMkLst>
            <pc:docMk/>
            <pc:sldMk cId="9902627" sldId="2147478905"/>
            <ac:picMk id="54" creationId="{8EB97B3C-0A51-6DCB-BB0B-124FB04E4850}"/>
          </ac:picMkLst>
        </pc:picChg>
        <pc:picChg chg="mod">
          <ac:chgData name="Maximilian Maier" userId="2dea75bf-1e61-418a-9a4e-3c96e4410998" providerId="ADAL" clId="{E5FA7755-4464-4339-8923-4731CE90646D}" dt="2023-12-04T15:02:49.119" v="9187" actId="1076"/>
          <ac:picMkLst>
            <pc:docMk/>
            <pc:sldMk cId="9902627" sldId="2147478905"/>
            <ac:picMk id="122" creationId="{4192FDDC-54C5-F90E-F3C1-3E34E88548E9}"/>
          </ac:picMkLst>
        </pc:picChg>
      </pc:sldChg>
      <pc:sldChg chg="add del">
        <pc:chgData name="Maximilian Maier" userId="2dea75bf-1e61-418a-9a4e-3c96e4410998" providerId="ADAL" clId="{E5FA7755-4464-4339-8923-4731CE90646D}" dt="2023-12-04T14:45:39.214" v="8451" actId="47"/>
        <pc:sldMkLst>
          <pc:docMk/>
          <pc:sldMk cId="51634033" sldId="2147478905"/>
        </pc:sldMkLst>
      </pc:sldChg>
      <pc:sldChg chg="addSp delSp modSp add mod ord modClrScheme chgLayout">
        <pc:chgData name="Maximilian Maier" userId="2dea75bf-1e61-418a-9a4e-3c96e4410998" providerId="ADAL" clId="{E5FA7755-4464-4339-8923-4731CE90646D}" dt="2023-12-05T09:57:50.697" v="9347" actId="1037"/>
        <pc:sldMkLst>
          <pc:docMk/>
          <pc:sldMk cId="1774216747" sldId="2147478906"/>
        </pc:sldMkLst>
        <pc:spChg chg="mod ord">
          <ac:chgData name="Maximilian Maier" userId="2dea75bf-1e61-418a-9a4e-3c96e4410998" providerId="ADAL" clId="{E5FA7755-4464-4339-8923-4731CE90646D}" dt="2023-12-05T09:57:34.797" v="9340"/>
          <ac:spMkLst>
            <pc:docMk/>
            <pc:sldMk cId="1774216747" sldId="2147478906"/>
            <ac:spMk id="2" creationId="{8EB42B7B-414A-4155-AF15-51925E1E8A92}"/>
          </ac:spMkLst>
        </pc:spChg>
        <pc:spChg chg="add del mod ord">
          <ac:chgData name="Maximilian Maier" userId="2dea75bf-1e61-418a-9a4e-3c96e4410998" providerId="ADAL" clId="{E5FA7755-4464-4339-8923-4731CE90646D}" dt="2023-12-05T09:57:30.754" v="9338"/>
          <ac:spMkLst>
            <pc:docMk/>
            <pc:sldMk cId="1774216747" sldId="2147478906"/>
            <ac:spMk id="3" creationId="{8C9A23DA-8348-AEF9-A287-9A9EF3B61570}"/>
          </ac:spMkLst>
        </pc:spChg>
        <pc:spChg chg="add del mod ord">
          <ac:chgData name="Maximilian Maier" userId="2dea75bf-1e61-418a-9a4e-3c96e4410998" providerId="ADAL" clId="{E5FA7755-4464-4339-8923-4731CE90646D}" dt="2023-12-05T09:57:30.754" v="9338"/>
          <ac:spMkLst>
            <pc:docMk/>
            <pc:sldMk cId="1774216747" sldId="2147478906"/>
            <ac:spMk id="13" creationId="{D3D4A41E-6B1C-BA4F-1B01-0F857F3EC5C8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4" creationId="{7C4B6A55-6DED-FC53-F90D-022BF7C1D346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5" creationId="{00DBF9C6-A97F-8D37-7C1E-28305C003A70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6" creationId="{07662595-9B4B-3045-AF5B-098CA6C845DB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7" creationId="{A904C489-C9B9-A303-4042-28C131AB1D14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8" creationId="{24864021-9C78-42B1-D11B-C9CB93424E1E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9" creationId="{80FFAD7B-3CE3-02CE-EE97-346A19C0CA41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20" creationId="{82986CF6-35D2-EF5A-7DD8-7D0E9816D6F0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21" creationId="{DDB90F18-F3E1-7AEA-9150-9CD274645066}"/>
          </ac:spMkLst>
        </pc:spChg>
        <pc:spChg chg="add del mod ord">
          <ac:chgData name="Maximilian Maier" userId="2dea75bf-1e61-418a-9a4e-3c96e4410998" providerId="ADAL" clId="{E5FA7755-4464-4339-8923-4731CE90646D}" dt="2023-12-05T09:21:15.064" v="9267" actId="700"/>
          <ac:spMkLst>
            <pc:docMk/>
            <pc:sldMk cId="1774216747" sldId="2147478906"/>
            <ac:spMk id="22" creationId="{0748F013-C0C6-FA56-E393-EC1FC9EC1848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23" creationId="{545C4F88-FDE7-F438-2DBD-33ABA32D1B66}"/>
          </ac:spMkLst>
        </pc:spChg>
        <pc:spChg chg="del mod">
          <ac:chgData name="Maximilian Maier" userId="2dea75bf-1e61-418a-9a4e-3c96e4410998" providerId="ADAL" clId="{E5FA7755-4464-4339-8923-4731CE90646D}" dt="2023-12-05T09:57:39.541" v="9344"/>
          <ac:spMkLst>
            <pc:docMk/>
            <pc:sldMk cId="1774216747" sldId="2147478906"/>
            <ac:spMk id="28" creationId="{4B1CF7B6-F801-DF82-2765-D04ED2668607}"/>
          </ac:spMkLst>
        </pc:spChg>
        <pc:spChg chg="add del mod ord">
          <ac:chgData name="Maximilian Maier" userId="2dea75bf-1e61-418a-9a4e-3c96e4410998" providerId="ADAL" clId="{E5FA7755-4464-4339-8923-4731CE90646D}" dt="2023-12-05T09:21:15.064" v="9267" actId="700"/>
          <ac:spMkLst>
            <pc:docMk/>
            <pc:sldMk cId="1774216747" sldId="2147478906"/>
            <ac:spMk id="35" creationId="{F8F9F6C5-9791-9026-58D6-58882C785A7E}"/>
          </ac:spMkLst>
        </pc:spChg>
        <pc:spChg chg="add del mod">
          <ac:chgData name="Maximilian Maier" userId="2dea75bf-1e61-418a-9a4e-3c96e4410998" providerId="ADAL" clId="{E5FA7755-4464-4339-8923-4731CE90646D}" dt="2023-12-05T09:57:30.754" v="9338"/>
          <ac:spMkLst>
            <pc:docMk/>
            <pc:sldMk cId="1774216747" sldId="2147478906"/>
            <ac:spMk id="37" creationId="{22C47665-9B79-1927-8AF6-D2034A01655D}"/>
          </ac:spMkLst>
        </pc:spChg>
        <pc:spChg chg="add del mod">
          <ac:chgData name="Maximilian Maier" userId="2dea75bf-1e61-418a-9a4e-3c96e4410998" providerId="ADAL" clId="{E5FA7755-4464-4339-8923-4731CE90646D}" dt="2023-12-05T09:57:33.174" v="9339" actId="478"/>
          <ac:spMkLst>
            <pc:docMk/>
            <pc:sldMk cId="1774216747" sldId="2147478906"/>
            <ac:spMk id="38" creationId="{549BFA5A-C79C-D5B8-D8BF-8F05BD5B8E11}"/>
          </ac:spMkLst>
        </pc:spChg>
        <pc:spChg chg="add del mod">
          <ac:chgData name="Maximilian Maier" userId="2dea75bf-1e61-418a-9a4e-3c96e4410998" providerId="ADAL" clId="{E5FA7755-4464-4339-8923-4731CE90646D}" dt="2023-12-05T09:57:34.797" v="9340"/>
          <ac:spMkLst>
            <pc:docMk/>
            <pc:sldMk cId="1774216747" sldId="2147478906"/>
            <ac:spMk id="39" creationId="{BDCD463A-9FB3-4411-7868-4688F24F15A1}"/>
          </ac:spMkLst>
        </pc:spChg>
        <pc:spChg chg="add del mod">
          <ac:chgData name="Maximilian Maier" userId="2dea75bf-1e61-418a-9a4e-3c96e4410998" providerId="ADAL" clId="{E5FA7755-4464-4339-8923-4731CE90646D}" dt="2023-12-05T09:57:34.797" v="9340"/>
          <ac:spMkLst>
            <pc:docMk/>
            <pc:sldMk cId="1774216747" sldId="2147478906"/>
            <ac:spMk id="40" creationId="{EB6F890D-0B03-3B6C-C517-4C337DAB65C9}"/>
          </ac:spMkLst>
        </pc:spChg>
        <pc:spChg chg="add mod">
          <ac:chgData name="Maximilian Maier" userId="2dea75bf-1e61-418a-9a4e-3c96e4410998" providerId="ADAL" clId="{E5FA7755-4464-4339-8923-4731CE90646D}" dt="2023-12-05T09:57:38.650" v="9342"/>
          <ac:spMkLst>
            <pc:docMk/>
            <pc:sldMk cId="1774216747" sldId="2147478906"/>
            <ac:spMk id="41" creationId="{5EDA9CF7-32AA-8EB6-0372-0799586B03A9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42" creationId="{A8066A2F-CC0E-2E12-762E-D0B3F8D5E301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43" creationId="{9FFC804B-47E9-EFF6-DE97-136C31991D24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44" creationId="{4CFBFD3F-74C4-4D19-BDB1-3889F22288A0}"/>
          </ac:spMkLst>
        </pc:spChg>
        <pc:spChg chg="add del mod">
          <ac:chgData name="Maximilian Maier" userId="2dea75bf-1e61-418a-9a4e-3c96e4410998" providerId="ADAL" clId="{E5FA7755-4464-4339-8923-4731CE90646D}" dt="2023-12-05T09:57:43.983" v="9345" actId="478"/>
          <ac:spMkLst>
            <pc:docMk/>
            <pc:sldMk cId="1774216747" sldId="2147478906"/>
            <ac:spMk id="45" creationId="{6404CBBB-41AF-4392-C368-BF642200D0D5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46" creationId="{FB37A129-AF2D-44ED-2E66-149B05B1DBC7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49" creationId="{9E366168-376A-5D66-0745-C7FFE52C09FB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2" creationId="{C350D8FB-F58A-AA34-2143-5F03E9ACF6A0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3" creationId="{31DF1A5F-4526-C6D0-9EC9-0129355EDDEE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4" creationId="{F3056209-4DF2-CA22-3924-D5A805820738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5" creationId="{DA737C8C-3B0C-18D8-1CF2-A6EBC14D555D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7" creationId="{BC86ADC7-4C7E-B73F-B46B-4E2FE964B059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8" creationId="{ACA5EF1B-EF92-3534-08D0-829B3A628CFB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69" creationId="{FCA4D797-292B-5368-8A61-49EFA9321987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73" creationId="{5BD3DE97-C2E3-9CFB-15CB-8C23DD18D663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74" creationId="{AAEF8B1E-0697-4E2A-C79A-8761449B21BF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75" creationId="{20212069-55A1-AA3B-E8B6-2094976CE1AB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85" creationId="{CF650F02-01CE-7B12-E48C-BC60BBEA9147}"/>
          </ac:spMkLst>
        </pc:spChg>
        <pc:spChg chg="mod">
          <ac:chgData name="Maximilian Maier" userId="2dea75bf-1e61-418a-9a4e-3c96e4410998" providerId="ADAL" clId="{E5FA7755-4464-4339-8923-4731CE90646D}" dt="2023-12-05T09:57:50.697" v="9347" actId="1037"/>
          <ac:spMkLst>
            <pc:docMk/>
            <pc:sldMk cId="1774216747" sldId="2147478906"/>
            <ac:spMk id="109" creationId="{2387F2EC-BAF7-5038-F4C0-229BE26C525B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10" creationId="{083DC1A0-2512-DA90-97FB-E46E4BE3B1C8}"/>
          </ac:spMkLst>
        </pc:spChg>
        <pc:spChg chg="mod">
          <ac:chgData name="Maximilian Maier" userId="2dea75bf-1e61-418a-9a4e-3c96e4410998" providerId="ADAL" clId="{E5FA7755-4464-4339-8923-4731CE90646D}" dt="2023-12-05T09:21:44.517" v="9268" actId="2711"/>
          <ac:spMkLst>
            <pc:docMk/>
            <pc:sldMk cId="1774216747" sldId="2147478906"/>
            <ac:spMk id="127" creationId="{6D31CAF9-1E47-4176-887B-8ABAD4C0C2AD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32" creationId="{7BCB5ECA-4505-557F-C5AB-81824B5B7B8A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40" creationId="{31F470BD-0F1C-0B61-18B2-CCDBB5150815}"/>
          </ac:spMkLst>
        </pc:spChg>
        <pc:spChg chg="mod">
          <ac:chgData name="Maximilian Maier" userId="2dea75bf-1e61-418a-9a4e-3c96e4410998" providerId="ADAL" clId="{E5FA7755-4464-4339-8923-4731CE90646D}" dt="2023-12-05T09:21:14.604" v="9266" actId="368"/>
          <ac:spMkLst>
            <pc:docMk/>
            <pc:sldMk cId="1774216747" sldId="2147478906"/>
            <ac:spMk id="141" creationId="{36E80046-9BBC-D7FC-FB38-27EFB6074788}"/>
          </ac:spMkLst>
        </pc:spChg>
      </pc:sldChg>
      <pc:sldChg chg="add del">
        <pc:chgData name="Maximilian Maier" userId="2dea75bf-1e61-418a-9a4e-3c96e4410998" providerId="ADAL" clId="{E5FA7755-4464-4339-8923-4731CE90646D}" dt="2023-12-05T14:24:08.613" v="9422" actId="47"/>
        <pc:sldMkLst>
          <pc:docMk/>
          <pc:sldMk cId="1607729182" sldId="2147478907"/>
        </pc:sldMkLst>
      </pc:sldChg>
      <pc:sldChg chg="add del">
        <pc:chgData name="Maximilian Maier" userId="2dea75bf-1e61-418a-9a4e-3c96e4410998" providerId="ADAL" clId="{E5FA7755-4464-4339-8923-4731CE90646D}" dt="2023-12-05T14:36:47.008" v="9569" actId="47"/>
        <pc:sldMkLst>
          <pc:docMk/>
          <pc:sldMk cId="3327224247" sldId="2147478907"/>
        </pc:sldMkLst>
      </pc:sldChg>
      <pc:sldMasterChg chg="delSldLayout">
        <pc:chgData name="Maximilian Maier" userId="2dea75bf-1e61-418a-9a4e-3c96e4410998" providerId="ADAL" clId="{E5FA7755-4464-4339-8923-4731CE90646D}" dt="2023-12-04T11:47:34.334" v="6964" actId="47"/>
        <pc:sldMasterMkLst>
          <pc:docMk/>
          <pc:sldMasterMk cId="533486435" sldId="2147484151"/>
        </pc:sldMasterMkLst>
        <pc:sldLayoutChg chg="del">
          <pc:chgData name="Maximilian Maier" userId="2dea75bf-1e61-418a-9a4e-3c96e4410998" providerId="ADAL" clId="{E5FA7755-4464-4339-8923-4731CE90646D}" dt="2023-12-04T11:47:34.334" v="6964" actId="47"/>
          <pc:sldLayoutMkLst>
            <pc:docMk/>
            <pc:sldMasterMk cId="533486435" sldId="2147484151"/>
            <pc:sldLayoutMk cId="1360396842" sldId="2147484271"/>
          </pc:sldLayoutMkLst>
        </pc:sldLayoutChg>
      </pc:sldMasterChg>
    </pc:docChg>
  </pc:docChgLst>
  <pc:docChgLst>
    <pc:chgData name="Maximilian Maier" userId="2dea75bf-1e61-418a-9a4e-3c96e4410998" providerId="ADAL" clId="{EB222F59-4FBC-4B5D-8850-D0E5C9356AF5}"/>
    <pc:docChg chg="undo redo custSel addSld delSld modSld sldOrd">
      <pc:chgData name="Maximilian Maier" userId="2dea75bf-1e61-418a-9a4e-3c96e4410998" providerId="ADAL" clId="{EB222F59-4FBC-4B5D-8850-D0E5C9356AF5}" dt="2023-12-14T07:55:39.835" v="201" actId="1076"/>
      <pc:docMkLst>
        <pc:docMk/>
      </pc:docMkLst>
      <pc:sldChg chg="modSp mod">
        <pc:chgData name="Maximilian Maier" userId="2dea75bf-1e61-418a-9a4e-3c96e4410998" providerId="ADAL" clId="{EB222F59-4FBC-4B5D-8850-D0E5C9356AF5}" dt="2023-12-13T13:34:09.820" v="160" actId="688"/>
        <pc:sldMkLst>
          <pc:docMk/>
          <pc:sldMk cId="2310686471" sldId="2134803357"/>
        </pc:sldMkLst>
        <pc:picChg chg="mod">
          <ac:chgData name="Maximilian Maier" userId="2dea75bf-1e61-418a-9a4e-3c96e4410998" providerId="ADAL" clId="{EB222F59-4FBC-4B5D-8850-D0E5C9356AF5}" dt="2023-12-13T13:34:09.820" v="160" actId="688"/>
          <ac:picMkLst>
            <pc:docMk/>
            <pc:sldMk cId="2310686471" sldId="2134803357"/>
            <ac:picMk id="4" creationId="{6F1752BD-7B48-EFD2-D710-46717CABBE25}"/>
          </ac:picMkLst>
        </pc:picChg>
      </pc:sldChg>
      <pc:sldChg chg="modSp mod">
        <pc:chgData name="Maximilian Maier" userId="2dea75bf-1e61-418a-9a4e-3c96e4410998" providerId="ADAL" clId="{EB222F59-4FBC-4B5D-8850-D0E5C9356AF5}" dt="2023-12-13T13:11:36.496" v="81" actId="20577"/>
        <pc:sldMkLst>
          <pc:docMk/>
          <pc:sldMk cId="839097158" sldId="2147469660"/>
        </pc:sldMkLst>
        <pc:spChg chg="mod">
          <ac:chgData name="Maximilian Maier" userId="2dea75bf-1e61-418a-9a4e-3c96e4410998" providerId="ADAL" clId="{EB222F59-4FBC-4B5D-8850-D0E5C9356AF5}" dt="2023-12-13T13:11:36.496" v="81" actId="20577"/>
          <ac:spMkLst>
            <pc:docMk/>
            <pc:sldMk cId="839097158" sldId="2147469660"/>
            <ac:spMk id="5" creationId="{11491FB8-B931-CFEA-B6D2-EB7993B8AD6A}"/>
          </ac:spMkLst>
        </pc:spChg>
      </pc:sldChg>
      <pc:sldChg chg="modSp mod">
        <pc:chgData name="Maximilian Maier" userId="2dea75bf-1e61-418a-9a4e-3c96e4410998" providerId="ADAL" clId="{EB222F59-4FBC-4B5D-8850-D0E5C9356AF5}" dt="2023-12-13T13:18:00.220" v="157" actId="108"/>
        <pc:sldMkLst>
          <pc:docMk/>
          <pc:sldMk cId="3891713004" sldId="2147478875"/>
        </pc:sldMkLst>
        <pc:spChg chg="mod">
          <ac:chgData name="Maximilian Maier" userId="2dea75bf-1e61-418a-9a4e-3c96e4410998" providerId="ADAL" clId="{EB222F59-4FBC-4B5D-8850-D0E5C9356AF5}" dt="2023-12-13T13:18:00.220" v="157" actId="108"/>
          <ac:spMkLst>
            <pc:docMk/>
            <pc:sldMk cId="3891713004" sldId="2147478875"/>
            <ac:spMk id="5" creationId="{F3250CF2-9D95-6945-BF55-2FAA93E215F5}"/>
          </ac:spMkLst>
        </pc:spChg>
      </pc:sldChg>
      <pc:sldChg chg="modSp mod modAnim">
        <pc:chgData name="Maximilian Maier" userId="2dea75bf-1e61-418a-9a4e-3c96e4410998" providerId="ADAL" clId="{EB222F59-4FBC-4B5D-8850-D0E5C9356AF5}" dt="2023-12-13T09:23:48.777" v="13" actId="207"/>
        <pc:sldMkLst>
          <pc:docMk/>
          <pc:sldMk cId="1597591328" sldId="2147478880"/>
        </pc:sldMkLst>
        <pc:picChg chg="mod">
          <ac:chgData name="Maximilian Maier" userId="2dea75bf-1e61-418a-9a4e-3c96e4410998" providerId="ADAL" clId="{EB222F59-4FBC-4B5D-8850-D0E5C9356AF5}" dt="2023-12-13T09:23:48.777" v="13" actId="207"/>
          <ac:picMkLst>
            <pc:docMk/>
            <pc:sldMk cId="1597591328" sldId="2147478880"/>
            <ac:picMk id="28" creationId="{0AE49CAA-75C7-21AA-474F-1D444273DA79}"/>
          </ac:picMkLst>
        </pc:picChg>
      </pc:sldChg>
      <pc:sldChg chg="modSp mod">
        <pc:chgData name="Maximilian Maier" userId="2dea75bf-1e61-418a-9a4e-3c96e4410998" providerId="ADAL" clId="{EB222F59-4FBC-4B5D-8850-D0E5C9356AF5}" dt="2023-12-13T13:10:14.755" v="78" actId="20577"/>
        <pc:sldMkLst>
          <pc:docMk/>
          <pc:sldMk cId="3931443327" sldId="2147478881"/>
        </pc:sldMkLst>
        <pc:spChg chg="mod">
          <ac:chgData name="Maximilian Maier" userId="2dea75bf-1e61-418a-9a4e-3c96e4410998" providerId="ADAL" clId="{EB222F59-4FBC-4B5D-8850-D0E5C9356AF5}" dt="2023-12-13T13:10:14.755" v="78" actId="20577"/>
          <ac:spMkLst>
            <pc:docMk/>
            <pc:sldMk cId="3931443327" sldId="2147478881"/>
            <ac:spMk id="35" creationId="{8F110E3D-110F-05F6-A56F-41D44D3ECFD4}"/>
          </ac:spMkLst>
        </pc:spChg>
      </pc:sldChg>
      <pc:sldChg chg="modSp mod">
        <pc:chgData name="Maximilian Maier" userId="2dea75bf-1e61-418a-9a4e-3c96e4410998" providerId="ADAL" clId="{EB222F59-4FBC-4B5D-8850-D0E5C9356AF5}" dt="2023-12-13T09:37:18.195" v="76" actId="20577"/>
        <pc:sldMkLst>
          <pc:docMk/>
          <pc:sldMk cId="1570435177" sldId="2147478884"/>
        </pc:sldMkLst>
        <pc:spChg chg="mod">
          <ac:chgData name="Maximilian Maier" userId="2dea75bf-1e61-418a-9a4e-3c96e4410998" providerId="ADAL" clId="{EB222F59-4FBC-4B5D-8850-D0E5C9356AF5}" dt="2023-12-13T09:37:18.195" v="76" actId="20577"/>
          <ac:spMkLst>
            <pc:docMk/>
            <pc:sldMk cId="1570435177" sldId="2147478884"/>
            <ac:spMk id="33" creationId="{881B8E30-5F40-D481-026F-5B9B582382DC}"/>
          </ac:spMkLst>
        </pc:spChg>
      </pc:sldChg>
      <pc:sldChg chg="modSp mod">
        <pc:chgData name="Maximilian Maier" userId="2dea75bf-1e61-418a-9a4e-3c96e4410998" providerId="ADAL" clId="{EB222F59-4FBC-4B5D-8850-D0E5C9356AF5}" dt="2023-12-13T13:16:30.479" v="149" actId="20577"/>
        <pc:sldMkLst>
          <pc:docMk/>
          <pc:sldMk cId="3472462379" sldId="2147478889"/>
        </pc:sldMkLst>
        <pc:spChg chg="mod">
          <ac:chgData name="Maximilian Maier" userId="2dea75bf-1e61-418a-9a4e-3c96e4410998" providerId="ADAL" clId="{EB222F59-4FBC-4B5D-8850-D0E5C9356AF5}" dt="2023-12-13T13:16:30.479" v="149" actId="20577"/>
          <ac:spMkLst>
            <pc:docMk/>
            <pc:sldMk cId="3472462379" sldId="2147478889"/>
            <ac:spMk id="35" creationId="{8F110E3D-110F-05F6-A56F-41D44D3ECFD4}"/>
          </ac:spMkLst>
        </pc:spChg>
        <pc:picChg chg="mod">
          <ac:chgData name="Maximilian Maier" userId="2dea75bf-1e61-418a-9a4e-3c96e4410998" providerId="ADAL" clId="{EB222F59-4FBC-4B5D-8850-D0E5C9356AF5}" dt="2023-12-13T13:16:13.701" v="138" actId="108"/>
          <ac:picMkLst>
            <pc:docMk/>
            <pc:sldMk cId="3472462379" sldId="2147478889"/>
            <ac:picMk id="7" creationId="{6AE52C0B-5F37-DCAE-C4CF-5986EBD0C56E}"/>
          </ac:picMkLst>
        </pc:picChg>
      </pc:sldChg>
      <pc:sldChg chg="addSp delSp modSp mod">
        <pc:chgData name="Maximilian Maier" userId="2dea75bf-1e61-418a-9a4e-3c96e4410998" providerId="ADAL" clId="{EB222F59-4FBC-4B5D-8850-D0E5C9356AF5}" dt="2023-12-14T07:55:39.835" v="201" actId="1076"/>
        <pc:sldMkLst>
          <pc:docMk/>
          <pc:sldMk cId="3059861265" sldId="2147478907"/>
        </pc:sldMkLst>
        <pc:spChg chg="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2" creationId="{9E0D2A4C-ECBA-A9A7-0C89-44F654F82823}"/>
          </ac:spMkLst>
        </pc:spChg>
        <pc:spChg chg="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3" creationId="{ACC9406A-24BB-0BE2-76DA-CAE1DC2D3130}"/>
          </ac:spMkLst>
        </pc:spChg>
        <pc:spChg chg="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4" creationId="{9F2E295D-499A-6AF6-FE46-797C31CEF3E8}"/>
          </ac:spMkLst>
        </pc:spChg>
        <pc:spChg chg="mod">
          <ac:chgData name="Maximilian Maier" userId="2dea75bf-1e61-418a-9a4e-3c96e4410998" providerId="ADAL" clId="{EB222F59-4FBC-4B5D-8850-D0E5C9356AF5}" dt="2023-12-14T07:55:39.835" v="201" actId="1076"/>
          <ac:spMkLst>
            <pc:docMk/>
            <pc:sldMk cId="3059861265" sldId="2147478907"/>
            <ac:spMk id="5" creationId="{085D950F-9101-97CC-06A6-02B0C7462F55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6" creationId="{1119A7EF-4522-7D20-07F5-F950A05D11EA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7" creationId="{336D325D-0D93-EDCC-085C-EFEA7460E9EC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8" creationId="{23921164-40CA-4D21-1E15-E9A67DDF60EE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10" creationId="{2A5B4100-4E59-EB58-F2D7-017FCB071FC3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11" creationId="{264F531B-29FC-647E-D7ED-132A4DFA6AA1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12" creationId="{1B0D2827-F7C4-B2EB-96C4-BDC0A3C5D5AF}"/>
          </ac:spMkLst>
        </pc:spChg>
        <pc:spChg chg="add del mod">
          <ac:chgData name="Maximilian Maier" userId="2dea75bf-1e61-418a-9a4e-3c96e4410998" providerId="ADAL" clId="{EB222F59-4FBC-4B5D-8850-D0E5C9356AF5}" dt="2023-12-14T07:55:22.266" v="175"/>
          <ac:spMkLst>
            <pc:docMk/>
            <pc:sldMk cId="3059861265" sldId="2147478907"/>
            <ac:spMk id="13" creationId="{F601E219-CCEC-402A-6CDC-F65B08D7EB7A}"/>
          </ac:spMkLst>
        </pc:spChg>
        <pc:picChg chg="mod">
          <ac:chgData name="Maximilian Maier" userId="2dea75bf-1e61-418a-9a4e-3c96e4410998" providerId="ADAL" clId="{EB222F59-4FBC-4B5D-8850-D0E5C9356AF5}" dt="2023-12-14T07:55:22.266" v="175"/>
          <ac:picMkLst>
            <pc:docMk/>
            <pc:sldMk cId="3059861265" sldId="2147478907"/>
            <ac:picMk id="9" creationId="{35644BD4-639F-B48E-D897-64509D115A7A}"/>
          </ac:picMkLst>
        </pc:picChg>
      </pc:sldChg>
      <pc:sldChg chg="modAnim">
        <pc:chgData name="Maximilian Maier" userId="2dea75bf-1e61-418a-9a4e-3c96e4410998" providerId="ADAL" clId="{EB222F59-4FBC-4B5D-8850-D0E5C9356AF5}" dt="2023-12-13T09:22:08.714" v="1"/>
        <pc:sldMkLst>
          <pc:docMk/>
          <pc:sldMk cId="671648753" sldId="2147478911"/>
        </pc:sldMkLst>
      </pc:sldChg>
      <pc:sldChg chg="modSp mod">
        <pc:chgData name="Maximilian Maier" userId="2dea75bf-1e61-418a-9a4e-3c96e4410998" providerId="ADAL" clId="{EB222F59-4FBC-4B5D-8850-D0E5C9356AF5}" dt="2023-12-13T13:10:46.114" v="79" actId="1076"/>
        <pc:sldMkLst>
          <pc:docMk/>
          <pc:sldMk cId="3590680181" sldId="2147478912"/>
        </pc:sldMkLst>
        <pc:spChg chg="mod">
          <ac:chgData name="Maximilian Maier" userId="2dea75bf-1e61-418a-9a4e-3c96e4410998" providerId="ADAL" clId="{EB222F59-4FBC-4B5D-8850-D0E5C9356AF5}" dt="2023-12-13T13:10:46.114" v="79" actId="1076"/>
          <ac:spMkLst>
            <pc:docMk/>
            <pc:sldMk cId="3590680181" sldId="2147478912"/>
            <ac:spMk id="90" creationId="{F76FE631-B87A-7742-310B-624E4CC93FC4}"/>
          </ac:spMkLst>
        </pc:spChg>
      </pc:sldChg>
      <pc:sldChg chg="modSp mod">
        <pc:chgData name="Maximilian Maier" userId="2dea75bf-1e61-418a-9a4e-3c96e4410998" providerId="ADAL" clId="{EB222F59-4FBC-4B5D-8850-D0E5C9356AF5}" dt="2023-12-13T13:12:39.756" v="95" actId="5793"/>
        <pc:sldMkLst>
          <pc:docMk/>
          <pc:sldMk cId="2782712649" sldId="2147478913"/>
        </pc:sldMkLst>
        <pc:spChg chg="mod">
          <ac:chgData name="Maximilian Maier" userId="2dea75bf-1e61-418a-9a4e-3c96e4410998" providerId="ADAL" clId="{EB222F59-4FBC-4B5D-8850-D0E5C9356AF5}" dt="2023-12-13T13:12:39.756" v="95" actId="5793"/>
          <ac:spMkLst>
            <pc:docMk/>
            <pc:sldMk cId="2782712649" sldId="2147478913"/>
            <ac:spMk id="2" creationId="{8EB42B7B-414A-4155-AF15-51925E1E8A92}"/>
          </ac:spMkLst>
        </pc:spChg>
        <pc:spChg chg="mod">
          <ac:chgData name="Maximilian Maier" userId="2dea75bf-1e61-418a-9a4e-3c96e4410998" providerId="ADAL" clId="{EB222F59-4FBC-4B5D-8850-D0E5C9356AF5}" dt="2023-12-13T09:34:16.537" v="75" actId="20577"/>
          <ac:spMkLst>
            <pc:docMk/>
            <pc:sldMk cId="2782712649" sldId="2147478913"/>
            <ac:spMk id="41" creationId="{5EDA9CF7-32AA-8EB6-0372-0799586B03A9}"/>
          </ac:spMkLst>
        </pc:spChg>
      </pc:sldChg>
      <pc:sldChg chg="modSp mod modAnim">
        <pc:chgData name="Maximilian Maier" userId="2dea75bf-1e61-418a-9a4e-3c96e4410998" providerId="ADAL" clId="{EB222F59-4FBC-4B5D-8850-D0E5C9356AF5}" dt="2023-12-13T13:13:17.955" v="97" actId="20577"/>
        <pc:sldMkLst>
          <pc:docMk/>
          <pc:sldMk cId="2206054274" sldId="2147478914"/>
        </pc:sldMkLst>
        <pc:spChg chg="mod">
          <ac:chgData name="Maximilian Maier" userId="2dea75bf-1e61-418a-9a4e-3c96e4410998" providerId="ADAL" clId="{EB222F59-4FBC-4B5D-8850-D0E5C9356AF5}" dt="2023-12-13T13:13:17.955" v="97" actId="20577"/>
          <ac:spMkLst>
            <pc:docMk/>
            <pc:sldMk cId="2206054274" sldId="2147478914"/>
            <ac:spMk id="8" creationId="{AB80F18E-5D62-B76C-693A-5B71A66370B9}"/>
          </ac:spMkLst>
        </pc:spChg>
        <pc:picChg chg="mod">
          <ac:chgData name="Maximilian Maier" userId="2dea75bf-1e61-418a-9a4e-3c96e4410998" providerId="ADAL" clId="{EB222F59-4FBC-4B5D-8850-D0E5C9356AF5}" dt="2023-12-13T09:23:55.936" v="14" actId="207"/>
          <ac:picMkLst>
            <pc:docMk/>
            <pc:sldMk cId="2206054274" sldId="2147478914"/>
            <ac:picMk id="17" creationId="{9F7E8348-9C91-67D8-9476-0E5B8DC48338}"/>
          </ac:picMkLst>
        </pc:picChg>
      </pc:sldChg>
      <pc:sldChg chg="addSp delSp modSp add del mod ord">
        <pc:chgData name="Maximilian Maier" userId="2dea75bf-1e61-418a-9a4e-3c96e4410998" providerId="ADAL" clId="{EB222F59-4FBC-4B5D-8850-D0E5C9356AF5}" dt="2023-12-13T13:16:21.266" v="139" actId="47"/>
        <pc:sldMkLst>
          <pc:docMk/>
          <pc:sldMk cId="571811334" sldId="2147478915"/>
        </pc:sldMkLst>
        <pc:spChg chg="add del mod">
          <ac:chgData name="Maximilian Maier" userId="2dea75bf-1e61-418a-9a4e-3c96e4410998" providerId="ADAL" clId="{EB222F59-4FBC-4B5D-8850-D0E5C9356AF5}" dt="2023-12-13T13:14:43.216" v="112" actId="478"/>
          <ac:spMkLst>
            <pc:docMk/>
            <pc:sldMk cId="571811334" sldId="2147478915"/>
            <ac:spMk id="5" creationId="{9C82C1F6-EDDC-2010-D9FA-7EABE0212E9D}"/>
          </ac:spMkLst>
        </pc:spChg>
        <pc:spChg chg="add del mod">
          <ac:chgData name="Maximilian Maier" userId="2dea75bf-1e61-418a-9a4e-3c96e4410998" providerId="ADAL" clId="{EB222F59-4FBC-4B5D-8850-D0E5C9356AF5}" dt="2023-12-13T13:16:13.130" v="137" actId="478"/>
          <ac:spMkLst>
            <pc:docMk/>
            <pc:sldMk cId="571811334" sldId="2147478915"/>
            <ac:spMk id="10" creationId="{0964598A-8438-0095-4DC1-C79E86625A2E}"/>
          </ac:spMkLst>
        </pc:spChg>
        <pc:spChg chg="mod">
          <ac:chgData name="Maximilian Maier" userId="2dea75bf-1e61-418a-9a4e-3c96e4410998" providerId="ADAL" clId="{EB222F59-4FBC-4B5D-8850-D0E5C9356AF5}" dt="2023-12-13T13:16:11.904" v="134" actId="20577"/>
          <ac:spMkLst>
            <pc:docMk/>
            <pc:sldMk cId="571811334" sldId="2147478915"/>
            <ac:spMk id="35" creationId="{8F110E3D-110F-05F6-A56F-41D44D3ECFD4}"/>
          </ac:spMkLst>
        </pc:spChg>
        <pc:picChg chg="add del mod">
          <ac:chgData name="Maximilian Maier" userId="2dea75bf-1e61-418a-9a4e-3c96e4410998" providerId="ADAL" clId="{EB222F59-4FBC-4B5D-8850-D0E5C9356AF5}" dt="2023-12-13T13:16:13.130" v="137" actId="478"/>
          <ac:picMkLst>
            <pc:docMk/>
            <pc:sldMk cId="571811334" sldId="2147478915"/>
            <ac:picMk id="6" creationId="{2B8E90F6-2DC1-CD5C-73BA-A155339A8DEF}"/>
          </ac:picMkLst>
        </pc:picChg>
        <pc:picChg chg="add del mod">
          <ac:chgData name="Maximilian Maier" userId="2dea75bf-1e61-418a-9a4e-3c96e4410998" providerId="ADAL" clId="{EB222F59-4FBC-4B5D-8850-D0E5C9356AF5}" dt="2023-12-13T13:14:25.765" v="105"/>
          <ac:picMkLst>
            <pc:docMk/>
            <pc:sldMk cId="571811334" sldId="2147478915"/>
            <ac:picMk id="7" creationId="{9DF1FAC6-37E8-6034-05E0-0E80A6954C71}"/>
          </ac:picMkLst>
        </pc:picChg>
        <pc:picChg chg="add del mod">
          <ac:chgData name="Maximilian Maier" userId="2dea75bf-1e61-418a-9a4e-3c96e4410998" providerId="ADAL" clId="{EB222F59-4FBC-4B5D-8850-D0E5C9356AF5}" dt="2023-12-13T13:14:42.118" v="110"/>
          <ac:picMkLst>
            <pc:docMk/>
            <pc:sldMk cId="571811334" sldId="2147478915"/>
            <ac:picMk id="8" creationId="{B895A251-0E41-EEF1-9148-C6F13340E2F7}"/>
          </ac:picMkLst>
        </pc:picChg>
        <pc:picChg chg="add del mod">
          <ac:chgData name="Maximilian Maier" userId="2dea75bf-1e61-418a-9a4e-3c96e4410998" providerId="ADAL" clId="{EB222F59-4FBC-4B5D-8850-D0E5C9356AF5}" dt="2023-12-13T13:16:12.644" v="136"/>
          <ac:picMkLst>
            <pc:docMk/>
            <pc:sldMk cId="571811334" sldId="2147478915"/>
            <ac:picMk id="11" creationId="{A5DED358-82C6-C49D-E250-56D3EE627510}"/>
          </ac:picMkLst>
        </pc:picChg>
      </pc:sldChg>
    </pc:docChg>
  </pc:docChgLst>
  <pc:docChgLst>
    <pc:chgData name="Maximilian Maier" userId="2dea75bf-1e61-418a-9a4e-3c96e4410998" providerId="ADAL" clId="{AC1DA0A9-A844-4051-BA87-55BE4D9AF421}"/>
    <pc:docChg chg="modSld">
      <pc:chgData name="Maximilian Maier" userId="2dea75bf-1e61-418a-9a4e-3c96e4410998" providerId="ADAL" clId="{AC1DA0A9-A844-4051-BA87-55BE4D9AF421}" dt="2024-04-04T07:09:25.964" v="0" actId="1076"/>
      <pc:docMkLst>
        <pc:docMk/>
      </pc:docMkLst>
      <pc:sldChg chg="modSp mod">
        <pc:chgData name="Maximilian Maier" userId="2dea75bf-1e61-418a-9a4e-3c96e4410998" providerId="ADAL" clId="{AC1DA0A9-A844-4051-BA87-55BE4D9AF421}" dt="2024-04-04T07:09:25.964" v="0" actId="1076"/>
        <pc:sldMkLst>
          <pc:docMk/>
          <pc:sldMk cId="2310686471" sldId="2134803357"/>
        </pc:sldMkLst>
        <pc:picChg chg="mod">
          <ac:chgData name="Maximilian Maier" userId="2dea75bf-1e61-418a-9a4e-3c96e4410998" providerId="ADAL" clId="{AC1DA0A9-A844-4051-BA87-55BE4D9AF421}" dt="2024-04-04T07:09:25.964" v="0" actId="1076"/>
          <ac:picMkLst>
            <pc:docMk/>
            <pc:sldMk cId="2310686471" sldId="2134803357"/>
            <ac:picMk id="36" creationId="{65997835-322C-64E4-13C5-BB50CC803C81}"/>
          </ac:picMkLst>
        </pc:picChg>
      </pc:sldChg>
    </pc:docChg>
  </pc:docChgLst>
  <pc:docChgLst>
    <pc:chgData name="Florina Sacara" userId="2337e30b-2f61-43d8-8392-ce3a880679df" providerId="ADAL" clId="{8079DC10-9C36-417E-92FF-6C9FCFFFD662}"/>
    <pc:docChg chg="undo custSel delSld modSld">
      <pc:chgData name="Florina Sacara" userId="2337e30b-2f61-43d8-8392-ce3a880679df" providerId="ADAL" clId="{8079DC10-9C36-417E-92FF-6C9FCFFFD662}" dt="2023-12-12T16:42:29.585" v="48" actId="47"/>
      <pc:docMkLst>
        <pc:docMk/>
      </pc:docMkLst>
      <pc:sldChg chg="modSp mod modAnim">
        <pc:chgData name="Florina Sacara" userId="2337e30b-2f61-43d8-8392-ce3a880679df" providerId="ADAL" clId="{8079DC10-9C36-417E-92FF-6C9FCFFFD662}" dt="2023-12-12T16:28:25.308" v="21" actId="1076"/>
        <pc:sldMkLst>
          <pc:docMk/>
          <pc:sldMk cId="1181232158" sldId="2147478838"/>
        </pc:sldMkLst>
        <pc:spChg chg="mod">
          <ac:chgData name="Florina Sacara" userId="2337e30b-2f61-43d8-8392-ce3a880679df" providerId="ADAL" clId="{8079DC10-9C36-417E-92FF-6C9FCFFFD662}" dt="2023-12-12T16:26:58.075" v="7" actId="20577"/>
          <ac:spMkLst>
            <pc:docMk/>
            <pc:sldMk cId="1181232158" sldId="2147478838"/>
            <ac:spMk id="2" creationId="{BEBA6141-CD9A-D218-5311-631D8D91C3F7}"/>
          </ac:spMkLst>
        </pc:spChg>
        <pc:spChg chg="mod">
          <ac:chgData name="Florina Sacara" userId="2337e30b-2f61-43d8-8392-ce3a880679df" providerId="ADAL" clId="{8079DC10-9C36-417E-92FF-6C9FCFFFD662}" dt="2023-12-12T16:27:05.793" v="10" actId="14100"/>
          <ac:spMkLst>
            <pc:docMk/>
            <pc:sldMk cId="1181232158" sldId="2147478838"/>
            <ac:spMk id="64" creationId="{F6A69955-1816-8B99-399C-2A8BC793F78E}"/>
          </ac:spMkLst>
        </pc:spChg>
        <pc:picChg chg="mod">
          <ac:chgData name="Florina Sacara" userId="2337e30b-2f61-43d8-8392-ce3a880679df" providerId="ADAL" clId="{8079DC10-9C36-417E-92FF-6C9FCFFFD662}" dt="2023-12-12T16:26:42.559" v="4" actId="1076"/>
          <ac:picMkLst>
            <pc:docMk/>
            <pc:sldMk cId="1181232158" sldId="2147478838"/>
            <ac:picMk id="5" creationId="{657AB6A1-1C8C-06EF-0AD6-13E419F86B5D}"/>
          </ac:picMkLst>
        </pc:picChg>
        <pc:picChg chg="mod">
          <ac:chgData name="Florina Sacara" userId="2337e30b-2f61-43d8-8392-ce3a880679df" providerId="ADAL" clId="{8079DC10-9C36-417E-92FF-6C9FCFFFD662}" dt="2023-12-12T16:28:25.308" v="21" actId="1076"/>
          <ac:picMkLst>
            <pc:docMk/>
            <pc:sldMk cId="1181232158" sldId="2147478838"/>
            <ac:picMk id="27" creationId="{E3B7AD3D-F315-5493-3296-0A2E23A5EB20}"/>
          </ac:picMkLst>
        </pc:picChg>
        <pc:picChg chg="mod">
          <ac:chgData name="Florina Sacara" userId="2337e30b-2f61-43d8-8392-ce3a880679df" providerId="ADAL" clId="{8079DC10-9C36-417E-92FF-6C9FCFFFD662}" dt="2023-12-12T16:28:00.730" v="17" actId="1076"/>
          <ac:picMkLst>
            <pc:docMk/>
            <pc:sldMk cId="1181232158" sldId="2147478838"/>
            <ac:picMk id="49" creationId="{9C3C77D8-4B50-3206-C010-7862AA07F715}"/>
          </ac:picMkLst>
        </pc:picChg>
        <pc:picChg chg="mod">
          <ac:chgData name="Florina Sacara" userId="2337e30b-2f61-43d8-8392-ce3a880679df" providerId="ADAL" clId="{8079DC10-9C36-417E-92FF-6C9FCFFFD662}" dt="2023-12-12T16:27:46.041" v="12" actId="1076"/>
          <ac:picMkLst>
            <pc:docMk/>
            <pc:sldMk cId="1181232158" sldId="2147478838"/>
            <ac:picMk id="52" creationId="{8D09292A-698D-D7D1-9A0D-2ED5CB44FC8B}"/>
          </ac:picMkLst>
        </pc:picChg>
      </pc:sldChg>
      <pc:sldChg chg="del">
        <pc:chgData name="Florina Sacara" userId="2337e30b-2f61-43d8-8392-ce3a880679df" providerId="ADAL" clId="{8079DC10-9C36-417E-92FF-6C9FCFFFD662}" dt="2023-12-12T16:42:29.585" v="48" actId="47"/>
        <pc:sldMkLst>
          <pc:docMk/>
          <pc:sldMk cId="2955698166" sldId="2147478887"/>
        </pc:sldMkLst>
      </pc:sldChg>
      <pc:sldChg chg="modSp mod modAnim">
        <pc:chgData name="Florina Sacara" userId="2337e30b-2f61-43d8-8392-ce3a880679df" providerId="ADAL" clId="{8079DC10-9C36-417E-92FF-6C9FCFFFD662}" dt="2023-12-12T16:41:08.729" v="47" actId="1076"/>
        <pc:sldMkLst>
          <pc:docMk/>
          <pc:sldMk cId="3718084089" sldId="2147478898"/>
        </pc:sldMkLst>
        <pc:spChg chg="mod">
          <ac:chgData name="Florina Sacara" userId="2337e30b-2f61-43d8-8392-ce3a880679df" providerId="ADAL" clId="{8079DC10-9C36-417E-92FF-6C9FCFFFD662}" dt="2023-12-12T16:41:08.729" v="47" actId="1076"/>
          <ac:spMkLst>
            <pc:docMk/>
            <pc:sldMk cId="3718084089" sldId="2147478898"/>
            <ac:spMk id="5" creationId="{F3250CF2-9D95-6945-BF55-2FAA93E215F5}"/>
          </ac:spMkLst>
        </pc:spChg>
        <pc:spChg chg="mod">
          <ac:chgData name="Florina Sacara" userId="2337e30b-2f61-43d8-8392-ce3a880679df" providerId="ADAL" clId="{8079DC10-9C36-417E-92FF-6C9FCFFFD662}" dt="2023-12-12T16:41:05.237" v="46" actId="12789"/>
          <ac:spMkLst>
            <pc:docMk/>
            <pc:sldMk cId="3718084089" sldId="2147478898"/>
            <ac:spMk id="8" creationId="{138F4273-6C09-8AAF-3EEF-C3A8F466DDEC}"/>
          </ac:spMkLst>
        </pc:spChg>
        <pc:picChg chg="mod">
          <ac:chgData name="Florina Sacara" userId="2337e30b-2f61-43d8-8392-ce3a880679df" providerId="ADAL" clId="{8079DC10-9C36-417E-92FF-6C9FCFFFD662}" dt="2023-12-12T16:41:05.237" v="46" actId="12789"/>
          <ac:picMkLst>
            <pc:docMk/>
            <pc:sldMk cId="3718084089" sldId="2147478898"/>
            <ac:picMk id="9" creationId="{51655644-BE82-4A01-77F6-2EEA4A5D5650}"/>
          </ac:picMkLst>
        </pc:picChg>
      </pc:sldChg>
      <pc:sldChg chg="modSp mod">
        <pc:chgData name="Florina Sacara" userId="2337e30b-2f61-43d8-8392-ce3a880679df" providerId="ADAL" clId="{8079DC10-9C36-417E-92FF-6C9FCFFFD662}" dt="2023-12-12T16:36:57.072" v="24" actId="20577"/>
        <pc:sldMkLst>
          <pc:docMk/>
          <pc:sldMk cId="3590680181" sldId="2147478912"/>
        </pc:sldMkLst>
        <pc:spChg chg="mod">
          <ac:chgData name="Florina Sacara" userId="2337e30b-2f61-43d8-8392-ce3a880679df" providerId="ADAL" clId="{8079DC10-9C36-417E-92FF-6C9FCFFFD662}" dt="2023-12-12T16:36:57.072" v="24" actId="20577"/>
          <ac:spMkLst>
            <pc:docMk/>
            <pc:sldMk cId="3590680181" sldId="2147478912"/>
            <ac:spMk id="89" creationId="{46B56668-7203-D577-8F4A-848478C40413}"/>
          </ac:spMkLst>
        </pc:spChg>
      </pc:sldChg>
      <pc:sldChg chg="addSp delSp modSp mod">
        <pc:chgData name="Florina Sacara" userId="2337e30b-2f61-43d8-8392-ce3a880679df" providerId="ADAL" clId="{8079DC10-9C36-417E-92FF-6C9FCFFFD662}" dt="2023-12-12T16:38:25.303" v="32" actId="478"/>
        <pc:sldMkLst>
          <pc:docMk/>
          <pc:sldMk cId="2782712649" sldId="2147478913"/>
        </pc:sldMkLst>
        <pc:spChg chg="mod">
          <ac:chgData name="Florina Sacara" userId="2337e30b-2f61-43d8-8392-ce3a880679df" providerId="ADAL" clId="{8079DC10-9C36-417E-92FF-6C9FCFFFD662}" dt="2023-12-12T16:37:44.353" v="29" actId="1076"/>
          <ac:spMkLst>
            <pc:docMk/>
            <pc:sldMk cId="2782712649" sldId="2147478913"/>
            <ac:spMk id="62" creationId="{C350D8FB-F58A-AA34-2143-5F03E9ACF6A0}"/>
          </ac:spMkLst>
        </pc:spChg>
        <pc:spChg chg="mod">
          <ac:chgData name="Florina Sacara" userId="2337e30b-2f61-43d8-8392-ce3a880679df" providerId="ADAL" clId="{8079DC10-9C36-417E-92FF-6C9FCFFFD662}" dt="2023-12-12T16:38:18.907" v="30" actId="1076"/>
          <ac:spMkLst>
            <pc:docMk/>
            <pc:sldMk cId="2782712649" sldId="2147478913"/>
            <ac:spMk id="141" creationId="{36E80046-9BBC-D7FC-FB38-27EFB6074788}"/>
          </ac:spMkLst>
        </pc:spChg>
        <pc:picChg chg="mod">
          <ac:chgData name="Florina Sacara" userId="2337e30b-2f61-43d8-8392-ce3a880679df" providerId="ADAL" clId="{8079DC10-9C36-417E-92FF-6C9FCFFFD662}" dt="2023-12-12T16:37:34.995" v="28" actId="12788"/>
          <ac:picMkLst>
            <pc:docMk/>
            <pc:sldMk cId="2782712649" sldId="2147478913"/>
            <ac:picMk id="66" creationId="{EADF5986-CE1E-0199-4773-C5AD6BCD4E9F}"/>
          </ac:picMkLst>
        </pc:picChg>
        <pc:cxnChg chg="add del">
          <ac:chgData name="Florina Sacara" userId="2337e30b-2f61-43d8-8392-ce3a880679df" providerId="ADAL" clId="{8079DC10-9C36-417E-92FF-6C9FCFFFD662}" dt="2023-12-12T16:38:25.303" v="32" actId="478"/>
          <ac:cxnSpMkLst>
            <pc:docMk/>
            <pc:sldMk cId="2782712649" sldId="2147478913"/>
            <ac:cxnSpMk id="13" creationId="{5E8D7291-F161-1B15-A2BA-E66E502147F3}"/>
          </ac:cxnSpMkLst>
        </pc:cxnChg>
      </pc:sldChg>
    </pc:docChg>
  </pc:docChgLst>
  <pc:docChgLst>
    <pc:chgData name="Maximilian Maier" userId="2dea75bf-1e61-418a-9a4e-3c96e4410998" providerId="ADAL" clId="{3D288B6E-63A8-4B61-BF4C-59927CCDADE9}"/>
    <pc:docChg chg="undo custSel addSld delSld modSld sldOrd modMainMaster">
      <pc:chgData name="Maximilian Maier" userId="2dea75bf-1e61-418a-9a4e-3c96e4410998" providerId="ADAL" clId="{3D288B6E-63A8-4B61-BF4C-59927CCDADE9}" dt="2024-04-10T13:48:54.281" v="545" actId="20577"/>
      <pc:docMkLst>
        <pc:docMk/>
      </pc:docMkLst>
      <pc:sldChg chg="del">
        <pc:chgData name="Maximilian Maier" userId="2dea75bf-1e61-418a-9a4e-3c96e4410998" providerId="ADAL" clId="{3D288B6E-63A8-4B61-BF4C-59927CCDADE9}" dt="2024-04-08T07:17:03.184" v="302" actId="47"/>
        <pc:sldMkLst>
          <pc:docMk/>
          <pc:sldMk cId="2310686471" sldId="2134803357"/>
        </pc:sldMkLst>
      </pc:sldChg>
      <pc:sldChg chg="ord">
        <pc:chgData name="Maximilian Maier" userId="2dea75bf-1e61-418a-9a4e-3c96e4410998" providerId="ADAL" clId="{3D288B6E-63A8-4B61-BF4C-59927CCDADE9}" dt="2024-04-08T07:13:08.241" v="108"/>
        <pc:sldMkLst>
          <pc:docMk/>
          <pc:sldMk cId="935086838" sldId="2147478834"/>
        </pc:sldMkLst>
      </pc:sldChg>
      <pc:sldChg chg="modSp mod">
        <pc:chgData name="Maximilian Maier" userId="2dea75bf-1e61-418a-9a4e-3c96e4410998" providerId="ADAL" clId="{3D288B6E-63A8-4B61-BF4C-59927CCDADE9}" dt="2024-04-08T06:58:47.610" v="21" actId="1076"/>
        <pc:sldMkLst>
          <pc:docMk/>
          <pc:sldMk cId="3187547680" sldId="2147478867"/>
        </pc:sldMkLst>
        <pc:picChg chg="mod">
          <ac:chgData name="Maximilian Maier" userId="2dea75bf-1e61-418a-9a4e-3c96e4410998" providerId="ADAL" clId="{3D288B6E-63A8-4B61-BF4C-59927CCDADE9}" dt="2024-04-08T06:58:47.610" v="21" actId="1076"/>
          <ac:picMkLst>
            <pc:docMk/>
            <pc:sldMk cId="3187547680" sldId="2147478867"/>
            <ac:picMk id="21" creationId="{3B6D38C6-8269-FAA5-B842-E8C492307C26}"/>
          </ac:picMkLst>
        </pc:picChg>
      </pc:sldChg>
      <pc:sldChg chg="add">
        <pc:chgData name="Maximilian Maier" userId="2dea75bf-1e61-418a-9a4e-3c96e4410998" providerId="ADAL" clId="{3D288B6E-63A8-4B61-BF4C-59927CCDADE9}" dt="2024-04-08T07:13:06.859" v="106"/>
        <pc:sldMkLst>
          <pc:docMk/>
          <pc:sldMk cId="4159998216" sldId="2147478868"/>
        </pc:sldMkLst>
      </pc:sldChg>
      <pc:sldChg chg="modSp mod">
        <pc:chgData name="Maximilian Maier" userId="2dea75bf-1e61-418a-9a4e-3c96e4410998" providerId="ADAL" clId="{3D288B6E-63A8-4B61-BF4C-59927CCDADE9}" dt="2024-04-10T13:37:05.647" v="485" actId="1076"/>
        <pc:sldMkLst>
          <pc:docMk/>
          <pc:sldMk cId="3891713004" sldId="2147478875"/>
        </pc:sldMkLst>
        <pc:spChg chg="mod">
          <ac:chgData name="Maximilian Maier" userId="2dea75bf-1e61-418a-9a4e-3c96e4410998" providerId="ADAL" clId="{3D288B6E-63A8-4B61-BF4C-59927CCDADE9}" dt="2024-04-10T13:37:05.647" v="485" actId="1076"/>
          <ac:spMkLst>
            <pc:docMk/>
            <pc:sldMk cId="3891713004" sldId="2147478875"/>
            <ac:spMk id="5" creationId="{F3250CF2-9D95-6945-BF55-2FAA93E215F5}"/>
          </ac:spMkLst>
        </pc:spChg>
      </pc:sldChg>
      <pc:sldChg chg="modSp mod">
        <pc:chgData name="Maximilian Maier" userId="2dea75bf-1e61-418a-9a4e-3c96e4410998" providerId="ADAL" clId="{3D288B6E-63A8-4B61-BF4C-59927CCDADE9}" dt="2024-04-10T13:47:25.466" v="538" actId="1076"/>
        <pc:sldMkLst>
          <pc:docMk/>
          <pc:sldMk cId="3927277076" sldId="2147478897"/>
        </pc:sldMkLst>
        <pc:spChg chg="mod">
          <ac:chgData name="Maximilian Maier" userId="2dea75bf-1e61-418a-9a4e-3c96e4410998" providerId="ADAL" clId="{3D288B6E-63A8-4B61-BF4C-59927CCDADE9}" dt="2024-04-10T13:47:25.466" v="538" actId="1076"/>
          <ac:spMkLst>
            <pc:docMk/>
            <pc:sldMk cId="3927277076" sldId="2147478897"/>
            <ac:spMk id="25" creationId="{EA92C545-D99E-5652-2878-57FCFFB0B2E2}"/>
          </ac:spMkLst>
        </pc:spChg>
      </pc:sldChg>
      <pc:sldChg chg="ord">
        <pc:chgData name="Maximilian Maier" userId="2dea75bf-1e61-418a-9a4e-3c96e4410998" providerId="ADAL" clId="{3D288B6E-63A8-4B61-BF4C-59927CCDADE9}" dt="2024-04-10T13:38:02.951" v="488"/>
        <pc:sldMkLst>
          <pc:docMk/>
          <pc:sldMk cId="3718084089" sldId="2147478898"/>
        </pc:sldMkLst>
      </pc:sldChg>
      <pc:sldChg chg="modSp mod modClrScheme chgLayout">
        <pc:chgData name="Maximilian Maier" userId="2dea75bf-1e61-418a-9a4e-3c96e4410998" providerId="ADAL" clId="{3D288B6E-63A8-4B61-BF4C-59927CCDADE9}" dt="2024-04-10T13:48:54.281" v="545" actId="20577"/>
        <pc:sldMkLst>
          <pc:docMk/>
          <pc:sldMk cId="3339346229" sldId="2147478901"/>
        </pc:sldMkLst>
        <pc:spChg chg="mod ord">
          <ac:chgData name="Maximilian Maier" userId="2dea75bf-1e61-418a-9a4e-3c96e4410998" providerId="ADAL" clId="{3D288B6E-63A8-4B61-BF4C-59927CCDADE9}" dt="2024-04-10T13:48:54.281" v="545" actId="20577"/>
          <ac:spMkLst>
            <pc:docMk/>
            <pc:sldMk cId="3339346229" sldId="2147478901"/>
            <ac:spMk id="2" creationId="{349E3222-7520-278B-0C1A-F3739993CD48}"/>
          </ac:spMkLst>
        </pc:spChg>
      </pc:sldChg>
      <pc:sldChg chg="addSp delSp modSp mod chgLayout">
        <pc:chgData name="Maximilian Maier" userId="2dea75bf-1e61-418a-9a4e-3c96e4410998" providerId="ADAL" clId="{3D288B6E-63A8-4B61-BF4C-59927CCDADE9}" dt="2024-04-08T07:29:27.490" v="346" actId="20577"/>
        <pc:sldMkLst>
          <pc:docMk/>
          <pc:sldMk cId="3059861265" sldId="2147478907"/>
        </pc:sldMkLst>
        <pc:spChg chg="mod ord">
          <ac:chgData name="Maximilian Maier" userId="2dea75bf-1e61-418a-9a4e-3c96e4410998" providerId="ADAL" clId="{3D288B6E-63A8-4B61-BF4C-59927CCDADE9}" dt="2024-04-08T07:29:27.490" v="346" actId="20577"/>
          <ac:spMkLst>
            <pc:docMk/>
            <pc:sldMk cId="3059861265" sldId="2147478907"/>
            <ac:spMk id="2" creationId="{9E0D2A4C-ECBA-A9A7-0C89-44F654F82823}"/>
          </ac:spMkLst>
        </pc:spChg>
        <pc:spChg chg="mod or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3" creationId="{ACC9406A-24BB-0BE2-76DA-CAE1DC2D3130}"/>
          </ac:spMkLst>
        </pc:spChg>
        <pc:spChg chg="mod or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4" creationId="{9F2E295D-499A-6AF6-FE46-797C31CEF3E8}"/>
          </ac:spMkLst>
        </pc:spChg>
        <pc:spChg chg="mod ord">
          <ac:chgData name="Maximilian Maier" userId="2dea75bf-1e61-418a-9a4e-3c96e4410998" providerId="ADAL" clId="{3D288B6E-63A8-4B61-BF4C-59927CCDADE9}" dt="2024-04-08T06:58:16.149" v="19" actId="403"/>
          <ac:spMkLst>
            <pc:docMk/>
            <pc:sldMk cId="3059861265" sldId="2147478907"/>
            <ac:spMk id="5" creationId="{085D950F-9101-97CC-06A6-02B0C7462F55}"/>
          </ac:spMkLst>
        </pc:spChg>
        <pc:spChg chg="add del mo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6" creationId="{33616D66-5F69-4128-74EF-EB6B316D6B5F}"/>
          </ac:spMkLst>
        </pc:spChg>
        <pc:spChg chg="add del mo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7" creationId="{CCD97B32-6B66-8B05-9CCB-8D9E5C8CBA00}"/>
          </ac:spMkLst>
        </pc:spChg>
        <pc:spChg chg="add del mo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8" creationId="{536A8A9E-5A11-4507-A2E1-853F8FD2A2C4}"/>
          </ac:spMkLst>
        </pc:spChg>
        <pc:spChg chg="add del mo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10" creationId="{7B315995-EFB2-01BB-4922-E51A048313B0}"/>
          </ac:spMkLst>
        </pc:spChg>
        <pc:spChg chg="add del mo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11" creationId="{56405E0D-1CE9-FF14-FFE6-5625FD2EEBF6}"/>
          </ac:spMkLst>
        </pc:spChg>
        <pc:spChg chg="add del mod or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12" creationId="{6B5D74F3-134F-D58C-5258-9BEC930D7DEE}"/>
          </ac:spMkLst>
        </pc:spChg>
        <pc:spChg chg="add del mod ord">
          <ac:chgData name="Maximilian Maier" userId="2dea75bf-1e61-418a-9a4e-3c96e4410998" providerId="ADAL" clId="{3D288B6E-63A8-4B61-BF4C-59927CCDADE9}" dt="2024-04-08T06:58:10.825" v="17" actId="6264"/>
          <ac:spMkLst>
            <pc:docMk/>
            <pc:sldMk cId="3059861265" sldId="2147478907"/>
            <ac:spMk id="13" creationId="{246110AE-90A4-A5D5-7A87-CD8BC38F7D39}"/>
          </ac:spMkLst>
        </pc:spChg>
        <pc:picChg chg="mod ord">
          <ac:chgData name="Maximilian Maier" userId="2dea75bf-1e61-418a-9a4e-3c96e4410998" providerId="ADAL" clId="{3D288B6E-63A8-4B61-BF4C-59927CCDADE9}" dt="2024-04-08T06:58:10.825" v="17" actId="6264"/>
          <ac:picMkLst>
            <pc:docMk/>
            <pc:sldMk cId="3059861265" sldId="2147478907"/>
            <ac:picMk id="9" creationId="{35644BD4-639F-B48E-D897-64509D115A7A}"/>
          </ac:picMkLst>
        </pc:picChg>
      </pc:sldChg>
      <pc:sldChg chg="modSp mod ord">
        <pc:chgData name="Maximilian Maier" userId="2dea75bf-1e61-418a-9a4e-3c96e4410998" providerId="ADAL" clId="{3D288B6E-63A8-4B61-BF4C-59927CCDADE9}" dt="2024-04-08T07:14:54.402" v="155" actId="20577"/>
        <pc:sldMkLst>
          <pc:docMk/>
          <pc:sldMk cId="3946509733" sldId="2147478908"/>
        </pc:sldMkLst>
        <pc:spChg chg="mod">
          <ac:chgData name="Maximilian Maier" userId="2dea75bf-1e61-418a-9a4e-3c96e4410998" providerId="ADAL" clId="{3D288B6E-63A8-4B61-BF4C-59927CCDADE9}" dt="2024-04-08T07:14:54.402" v="155" actId="20577"/>
          <ac:spMkLst>
            <pc:docMk/>
            <pc:sldMk cId="3946509733" sldId="2147478908"/>
            <ac:spMk id="2" creationId="{2BAD2894-2574-C2BC-A4C7-C32FB5F51BB6}"/>
          </ac:spMkLst>
        </pc:spChg>
      </pc:sldChg>
      <pc:sldChg chg="modSp mod">
        <pc:chgData name="Maximilian Maier" userId="2dea75bf-1e61-418a-9a4e-3c96e4410998" providerId="ADAL" clId="{3D288B6E-63A8-4B61-BF4C-59927CCDADE9}" dt="2024-04-08T07:01:43.504" v="25" actId="14100"/>
        <pc:sldMkLst>
          <pc:docMk/>
          <pc:sldMk cId="671648753" sldId="2147478911"/>
        </pc:sldMkLst>
        <pc:picChg chg="mod">
          <ac:chgData name="Maximilian Maier" userId="2dea75bf-1e61-418a-9a4e-3c96e4410998" providerId="ADAL" clId="{3D288B6E-63A8-4B61-BF4C-59927CCDADE9}" dt="2024-04-08T07:01:43.504" v="25" actId="14100"/>
          <ac:picMkLst>
            <pc:docMk/>
            <pc:sldMk cId="671648753" sldId="2147478911"/>
            <ac:picMk id="28" creationId="{0AE49CAA-75C7-21AA-474F-1D444273DA79}"/>
          </ac:picMkLst>
        </pc:picChg>
      </pc:sldChg>
      <pc:sldChg chg="addSp delSp modSp new del mod modClrScheme chgLayout">
        <pc:chgData name="Maximilian Maier" userId="2dea75bf-1e61-418a-9a4e-3c96e4410998" providerId="ADAL" clId="{3D288B6E-63A8-4B61-BF4C-59927CCDADE9}" dt="2024-04-10T13:33:48.310" v="353" actId="47"/>
        <pc:sldMkLst>
          <pc:docMk/>
          <pc:sldMk cId="761561395" sldId="2147478915"/>
        </pc:sldMkLst>
        <pc:spChg chg="del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2" creationId="{8EB4B919-B567-FCFC-6898-DA90717C0CFE}"/>
          </ac:spMkLst>
        </pc:spChg>
        <pc:spChg chg="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3" creationId="{8969DC16-B0F7-F1F0-9ABA-1CD537692DF4}"/>
          </ac:spMkLst>
        </pc:spChg>
        <pc:spChg chg="del 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4" creationId="{17E58298-D5FB-D9CD-CDDD-218ABA8EC4D6}"/>
          </ac:spMkLst>
        </pc:spChg>
        <pc:spChg chg="del 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5" creationId="{882BDD87-B9F5-14D1-CC63-F41A1C96BD13}"/>
          </ac:spMkLst>
        </pc:spChg>
        <pc:spChg chg="del 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6" creationId="{0BBB6BFA-74D0-A6BB-F423-A7FB1207335F}"/>
          </ac:spMkLst>
        </pc:spChg>
        <pc:spChg chg="add mod ord">
          <ac:chgData name="Maximilian Maier" userId="2dea75bf-1e61-418a-9a4e-3c96e4410998" providerId="ADAL" clId="{3D288B6E-63A8-4B61-BF4C-59927CCDADE9}" dt="2024-04-08T07:06:49.086" v="73"/>
          <ac:spMkLst>
            <pc:docMk/>
            <pc:sldMk cId="761561395" sldId="2147478915"/>
            <ac:spMk id="7" creationId="{CD53BEB6-4825-8512-4D2F-43A0186E3E37}"/>
          </ac:spMkLst>
        </pc:spChg>
        <pc:spChg chg="add 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8" creationId="{76A4BF2B-0585-62A7-921B-4B3DEB45E461}"/>
          </ac:spMkLst>
        </pc:spChg>
        <pc:spChg chg="add mod ord">
          <ac:chgData name="Maximilian Maier" userId="2dea75bf-1e61-418a-9a4e-3c96e4410998" providerId="ADAL" clId="{3D288B6E-63A8-4B61-BF4C-59927CCDADE9}" dt="2024-04-08T07:06:25.563" v="27" actId="700"/>
          <ac:spMkLst>
            <pc:docMk/>
            <pc:sldMk cId="761561395" sldId="2147478915"/>
            <ac:spMk id="9" creationId="{139C81A9-D540-F376-377A-34F6CC3D2C7D}"/>
          </ac:spMkLst>
        </pc:spChg>
      </pc:sldChg>
      <pc:sldChg chg="modSp add del mod">
        <pc:chgData name="Maximilian Maier" userId="2dea75bf-1e61-418a-9a4e-3c96e4410998" providerId="ADAL" clId="{3D288B6E-63A8-4B61-BF4C-59927CCDADE9}" dt="2024-04-10T13:37:12.672" v="486" actId="47"/>
        <pc:sldMkLst>
          <pc:docMk/>
          <pc:sldMk cId="4078028245" sldId="2147478916"/>
        </pc:sldMkLst>
        <pc:spChg chg="mod">
          <ac:chgData name="Maximilian Maier" userId="2dea75bf-1e61-418a-9a4e-3c96e4410998" providerId="ADAL" clId="{3D288B6E-63A8-4B61-BF4C-59927CCDADE9}" dt="2024-04-08T07:09:43.025" v="85" actId="6549"/>
          <ac:spMkLst>
            <pc:docMk/>
            <pc:sldMk cId="4078028245" sldId="2147478916"/>
            <ac:spMk id="2" creationId="{57D44F7B-2EA5-4218-BEE7-7A1A87883699}"/>
          </ac:spMkLst>
        </pc:spChg>
      </pc:sldChg>
      <pc:sldChg chg="modSp add mod ord">
        <pc:chgData name="Maximilian Maier" userId="2dea75bf-1e61-418a-9a4e-3c96e4410998" providerId="ADAL" clId="{3D288B6E-63A8-4B61-BF4C-59927CCDADE9}" dt="2024-04-10T13:46:29.081" v="523" actId="790"/>
        <pc:sldMkLst>
          <pc:docMk/>
          <pc:sldMk cId="3092014184" sldId="2147478917"/>
        </pc:sldMkLst>
        <pc:spChg chg="mod">
          <ac:chgData name="Maximilian Maier" userId="2dea75bf-1e61-418a-9a4e-3c96e4410998" providerId="ADAL" clId="{3D288B6E-63A8-4B61-BF4C-59927CCDADE9}" dt="2024-04-08T07:15:12.866" v="167"/>
          <ac:spMkLst>
            <pc:docMk/>
            <pc:sldMk cId="3092014184" sldId="2147478917"/>
            <ac:spMk id="2" creationId="{2BAD2894-2574-C2BC-A4C7-C32FB5F51BB6}"/>
          </ac:spMkLst>
        </pc:spChg>
        <pc:spChg chg="mod">
          <ac:chgData name="Maximilian Maier" userId="2dea75bf-1e61-418a-9a4e-3c96e4410998" providerId="ADAL" clId="{3D288B6E-63A8-4B61-BF4C-59927CCDADE9}" dt="2024-04-10T13:46:29.081" v="523" actId="790"/>
          <ac:spMkLst>
            <pc:docMk/>
            <pc:sldMk cId="3092014184" sldId="2147478917"/>
            <ac:spMk id="5" creationId="{71211229-C077-B2F3-53BA-9B9EB673E823}"/>
          </ac:spMkLst>
        </pc:spChg>
      </pc:sldChg>
      <pc:sldChg chg="add del">
        <pc:chgData name="Maximilian Maier" userId="2dea75bf-1e61-418a-9a4e-3c96e4410998" providerId="ADAL" clId="{3D288B6E-63A8-4B61-BF4C-59927CCDADE9}" dt="2024-04-08T07:14:28.088" v="140"/>
        <pc:sldMkLst>
          <pc:docMk/>
          <pc:sldMk cId="3096186043" sldId="2147478918"/>
        </pc:sldMkLst>
      </pc:sldChg>
      <pc:sldChg chg="modSp add mod">
        <pc:chgData name="Maximilian Maier" userId="2dea75bf-1e61-418a-9a4e-3c96e4410998" providerId="ADAL" clId="{3D288B6E-63A8-4B61-BF4C-59927CCDADE9}" dt="2024-04-10T13:36:54.638" v="484" actId="14100"/>
        <pc:sldMkLst>
          <pc:docMk/>
          <pc:sldMk cId="3964096008" sldId="2147478918"/>
        </pc:sldMkLst>
        <pc:spChg chg="mod">
          <ac:chgData name="Maximilian Maier" userId="2dea75bf-1e61-418a-9a4e-3c96e4410998" providerId="ADAL" clId="{3D288B6E-63A8-4B61-BF4C-59927CCDADE9}" dt="2024-04-10T13:34:11.903" v="380" actId="14100"/>
          <ac:spMkLst>
            <pc:docMk/>
            <pc:sldMk cId="3964096008" sldId="2147478918"/>
            <ac:spMk id="2" creationId="{D02EA3BB-9610-9535-7372-00F25D67FC13}"/>
          </ac:spMkLst>
        </pc:spChg>
        <pc:spChg chg="mod">
          <ac:chgData name="Maximilian Maier" userId="2dea75bf-1e61-418a-9a4e-3c96e4410998" providerId="ADAL" clId="{3D288B6E-63A8-4B61-BF4C-59927CCDADE9}" dt="2024-04-10T13:34:14.839" v="381" actId="6549"/>
          <ac:spMkLst>
            <pc:docMk/>
            <pc:sldMk cId="3964096008" sldId="2147478918"/>
            <ac:spMk id="3" creationId="{9A376712-B125-DE39-3B08-D755A60E3B2C}"/>
          </ac:spMkLst>
        </pc:spChg>
        <pc:spChg chg="mod">
          <ac:chgData name="Maximilian Maier" userId="2dea75bf-1e61-418a-9a4e-3c96e4410998" providerId="ADAL" clId="{3D288B6E-63A8-4B61-BF4C-59927CCDADE9}" dt="2024-04-10T13:36:54.638" v="484" actId="14100"/>
          <ac:spMkLst>
            <pc:docMk/>
            <pc:sldMk cId="3964096008" sldId="2147478918"/>
            <ac:spMk id="35" creationId="{8F110E3D-110F-05F6-A56F-41D44D3ECFD4}"/>
          </ac:spMkLst>
        </pc:spChg>
      </pc:sldChg>
      <pc:sldMasterChg chg="modSp mod modSldLayout">
        <pc:chgData name="Maximilian Maier" userId="2dea75bf-1e61-418a-9a4e-3c96e4410998" providerId="ADAL" clId="{3D288B6E-63A8-4B61-BF4C-59927CCDADE9}" dt="2024-04-08T07:30:17.800" v="351"/>
        <pc:sldMasterMkLst>
          <pc:docMk/>
          <pc:sldMasterMk cId="533486435" sldId="2147484151"/>
        </pc:sldMasterMkLst>
        <pc:spChg chg="mod">
          <ac:chgData name="Maximilian Maier" userId="2dea75bf-1e61-418a-9a4e-3c96e4410998" providerId="ADAL" clId="{3D288B6E-63A8-4B61-BF4C-59927CCDADE9}" dt="2024-04-08T07:29:58.269" v="350" actId="20577"/>
          <ac:spMkLst>
            <pc:docMk/>
            <pc:sldMasterMk cId="533486435" sldId="2147484151"/>
            <ac:spMk id="95" creationId="{FA504D58-0E95-843B-D693-959DB54CB7A1}"/>
          </ac:spMkLst>
        </pc:sp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40710275" sldId="2147484155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40710275" sldId="2147484155"/>
              <ac:spMk id="3" creationId="{33F39891-E607-D810-0433-4C2419FE8987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702050736" sldId="2147484172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702050736" sldId="2147484172"/>
              <ac:spMk id="2" creationId="{3C66DF71-054C-5BA0-B7F5-C1AF6620EFC7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959487813" sldId="2147484202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959487813" sldId="2147484202"/>
              <ac:spMk id="2" creationId="{330CD76F-39F4-0597-9293-243C3018F268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943588557" sldId="2147484204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943588557" sldId="2147484204"/>
              <ac:spMk id="38" creationId="{41E86AFE-0F86-43A6-C6AF-F8F6B304A182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853882946" sldId="2147484205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853882946" sldId="2147484205"/>
              <ac:spMk id="15" creationId="{5E54C71E-309C-BF9C-34AD-A13754FE765D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525642873" sldId="2147484206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525642873" sldId="2147484206"/>
              <ac:spMk id="45" creationId="{C23D7488-852F-762F-A2E7-25F02D52C105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796413517" sldId="2147484212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796413517" sldId="2147484212"/>
              <ac:spMk id="28" creationId="{C1BE2C04-FEAB-C649-4659-D5B32D9A36D6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4206291941" sldId="2147484215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4206291941" sldId="2147484215"/>
              <ac:spMk id="7" creationId="{8493F21F-4213-B69E-35C2-E06FEA62BD24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107761766" sldId="2147484219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107761766" sldId="2147484219"/>
              <ac:spMk id="7" creationId="{8493F21F-4213-B69E-35C2-E06FEA62BD24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861526723" sldId="2147484220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861526723" sldId="2147484220"/>
              <ac:spMk id="42" creationId="{4DB5F8FA-A005-0310-0645-EF5DF183C696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548276178" sldId="2147484221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548276178" sldId="2147484221"/>
              <ac:spMk id="5" creationId="{98395F42-A2DA-275F-DBE9-4026407238CC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974137200" sldId="2147484226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974137200" sldId="2147484226"/>
              <ac:spMk id="2" creationId="{E9AF60B4-CC56-BD9A-1302-702EEC8C61AB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599160774" sldId="2147484227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599160774" sldId="2147484227"/>
              <ac:spMk id="3" creationId="{A2F24600-DD81-1C90-6E3F-FD1DE119855D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4026363414" sldId="2147484232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4026363414" sldId="2147484232"/>
              <ac:spMk id="3" creationId="{D0D39121-E546-6ABA-63FC-510C53D4976E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072898735" sldId="2147484233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072898735" sldId="2147484233"/>
              <ac:spMk id="2" creationId="{3F47BEF9-D57D-3F07-2F39-7F5470506193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473207477" sldId="2147484234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473207477" sldId="2147484234"/>
              <ac:spMk id="2" creationId="{8454D21C-2C46-70F2-3FBF-97F25ECB8680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972961635" sldId="2147484235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972961635" sldId="2147484235"/>
              <ac:spMk id="3" creationId="{60F46438-8E5E-DFE3-3C05-0A1AC859EA83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028754323" sldId="2147484236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028754323" sldId="2147484236"/>
              <ac:spMk id="2" creationId="{4AACA3ED-5988-CB18-29BE-7049693A094C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708666697" sldId="2147484237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708666697" sldId="2147484237"/>
              <ac:spMk id="7" creationId="{7DEB71E7-1179-EC2C-43ED-992A6AA2C284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243040925" sldId="2147484250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243040925" sldId="2147484250"/>
              <ac:spMk id="30" creationId="{24F7A5B0-E8E8-DEA8-198F-09DE3F82BE11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728574474" sldId="2147484251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728574474" sldId="2147484251"/>
              <ac:spMk id="12" creationId="{602FEA95-2100-AF9F-EDA7-2E53B1300B0B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315622540" sldId="2147484252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315622540" sldId="2147484252"/>
              <ac:spMk id="10" creationId="{1386FCAD-686E-312D-FBB3-196C0585F3DE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802275517" sldId="2147484253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802275517" sldId="2147484253"/>
              <ac:spMk id="2" creationId="{3C66DF71-054C-5BA0-B7F5-C1AF6620EFC7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961852225" sldId="2147484254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961852225" sldId="2147484254"/>
              <ac:spMk id="2" creationId="{E9AF60B4-CC56-BD9A-1302-702EEC8C61AB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605566568" sldId="2147484255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605566568" sldId="2147484255"/>
              <ac:spMk id="3" creationId="{A2F24600-DD81-1C90-6E3F-FD1DE119855D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369431040" sldId="2147484256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369431040" sldId="2147484256"/>
              <ac:spMk id="7" creationId="{43D509CB-B4E1-F410-E0F9-5870A7CBD72B}"/>
            </ac:spMkLst>
          </pc:spChg>
        </pc:sldLayoutChg>
        <pc:sldLayoutChg chg="modSp mod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038719781" sldId="2147484257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038719781" sldId="2147484257"/>
              <ac:spMk id="12" creationId="{E739996B-E07D-D083-7A0F-B3C5FADF7F2D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325107205" sldId="2147484259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325107205" sldId="2147484259"/>
              <ac:spMk id="2" creationId="{9F6F3BAF-0EF8-B827-F71A-69D9A9884016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219666915" sldId="2147484261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219666915" sldId="2147484261"/>
              <ac:spMk id="3" creationId="{59D19012-2F00-B026-AF1B-C0B1AAA46A1C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314000389" sldId="2147484267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314000389" sldId="2147484267"/>
              <ac:spMk id="7" creationId="{AF61B790-A94A-E720-414F-DF0D78D4401B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3635221056" sldId="2147484268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3635221056" sldId="2147484268"/>
              <ac:spMk id="6" creationId="{506A3496-A492-CB77-B0F6-986DC387143A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89438403" sldId="2147484270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89438403" sldId="2147484270"/>
              <ac:spMk id="34" creationId="{10298740-AD63-6DE6-1A55-DCB3CC9ADD33}"/>
            </ac:spMkLst>
          </pc:spChg>
        </pc:sldLayoutChg>
        <pc:sldLayoutChg chg="modSp">
          <pc:chgData name="Maximilian Maier" userId="2dea75bf-1e61-418a-9a4e-3c96e4410998" providerId="ADAL" clId="{3D288B6E-63A8-4B61-BF4C-59927CCDADE9}" dt="2024-04-08T07:30:17.800" v="351"/>
          <pc:sldLayoutMkLst>
            <pc:docMk/>
            <pc:sldMasterMk cId="533486435" sldId="2147484151"/>
            <pc:sldLayoutMk cId="1999740643" sldId="2147484271"/>
          </pc:sldLayoutMkLst>
          <pc:spChg chg="mod">
            <ac:chgData name="Maximilian Maier" userId="2dea75bf-1e61-418a-9a4e-3c96e4410998" providerId="ADAL" clId="{3D288B6E-63A8-4B61-BF4C-59927CCDADE9}" dt="2024-04-08T07:30:17.800" v="351"/>
            <ac:spMkLst>
              <pc:docMk/>
              <pc:sldMasterMk cId="533486435" sldId="2147484151"/>
              <pc:sldLayoutMk cId="1999740643" sldId="2147484271"/>
              <ac:spMk id="7" creationId="{AC9E7686-B797-430E-9AB7-31CAE93591D7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FE5FB8B-0990-501F-CBDA-8289ADEB909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ES Build" pitchFamily="50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77E847-83A8-2B69-E0E8-3F504C182BE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08D62-93BB-489A-8F92-534C2AF6AC1C}" type="datetimeFigureOut">
              <a:rPr lang="en-US" smtClean="0">
                <a:latin typeface="ES Build" pitchFamily="50" charset="0"/>
              </a:rPr>
              <a:t>4/10/2024</a:t>
            </a:fld>
            <a:endParaRPr lang="en-US">
              <a:latin typeface="ES Build" pitchFamily="50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F2CA24-2FA5-DD34-7905-7CBA9F3839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ES Build" pitchFamily="50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147AAB-FBD8-3417-7333-7DD68E445A1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3182C0-81F9-45AC-A139-9D56FEA8E9F0}" type="slidenum">
              <a:rPr lang="en-US" smtClean="0">
                <a:latin typeface="ES Build" pitchFamily="50" charset="0"/>
              </a:rPr>
              <a:t>‹Nr.›</a:t>
            </a:fld>
            <a:endParaRPr lang="en-US">
              <a:latin typeface="ES Bui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28997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0-06T19:33:32.20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S Build" pitchFamily="50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S Build" pitchFamily="50" charset="0"/>
              </a:defRPr>
            </a:lvl1pPr>
          </a:lstStyle>
          <a:p>
            <a:fld id="{04FECDBD-7113-A144-A72E-4C1FC98DD220}" type="datetimeFigureOut">
              <a:rPr lang="en-US" smtClean="0"/>
              <a:pPr/>
              <a:t>4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S Build" pitchFamily="50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S Build" pitchFamily="50" charset="0"/>
              </a:defRPr>
            </a:lvl1pPr>
          </a:lstStyle>
          <a:p>
            <a:fld id="{A2D206B4-D7FF-F742-9988-8286DC6B11D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55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S Build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S Build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S Build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S Build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S Build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5666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198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470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noProof="0" dirty="0"/>
              <a:t>(</a:t>
            </a:r>
            <a:r>
              <a:rPr lang="de-DE" noProof="0" dirty="0" err="1"/>
              <a:t>how</a:t>
            </a:r>
            <a:r>
              <a:rPr lang="de-DE" noProof="0" dirty="0"/>
              <a:t> </a:t>
            </a:r>
            <a:r>
              <a:rPr lang="de-DE" noProof="0" dirty="0" err="1"/>
              <a:t>many</a:t>
            </a:r>
            <a:r>
              <a:rPr lang="de-DE" noProof="0" dirty="0"/>
              <a:t> </a:t>
            </a:r>
            <a:r>
              <a:rPr lang="de-DE" noProof="0" dirty="0" err="1"/>
              <a:t>days</a:t>
            </a:r>
            <a:r>
              <a:rPr lang="de-DE" noProof="0" dirty="0"/>
              <a:t> </a:t>
            </a:r>
            <a:r>
              <a:rPr lang="de-DE" noProof="0" dirty="0" err="1"/>
              <a:t>remaining</a:t>
            </a:r>
            <a:r>
              <a:rPr lang="de-DE" noProof="0" dirty="0"/>
              <a:t> </a:t>
            </a:r>
            <a:r>
              <a:rPr lang="de-DE" noProof="0" dirty="0" err="1"/>
              <a:t>till</a:t>
            </a:r>
            <a:r>
              <a:rPr lang="de-DE" noProof="0" dirty="0"/>
              <a:t> </a:t>
            </a:r>
            <a:r>
              <a:rPr lang="de-DE" noProof="0" dirty="0" err="1"/>
              <a:t>threshold</a:t>
            </a:r>
            <a:r>
              <a:rPr lang="de-DE" noProof="0" dirty="0"/>
              <a:t>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144F6-1F44-484E-96B6-CAB23FCB330B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8719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144F6-1F44-484E-96B6-CAB23FCB330B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397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80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3117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50144F6-1F44-484E-96B6-CAB23FCB330B}" type="slidenum">
              <a:rPr/>
              <a:pPr rtl="0"/>
              <a:t>27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96285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50144F6-1F44-484E-96B6-CAB23FCB330B}" type="slidenum">
              <a:rPr/>
              <a:pPr rtl="0"/>
              <a:t>28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70461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2482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1990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92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48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80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252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Murat Acinci – 08/06/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44F6-1F44-484E-96B6-CAB23FCB33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6444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44F6-1F44-484E-96B6-CAB23FCB33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016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61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72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D206B4-D7FF-F742-9988-8286DC6B11D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561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 this be the c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0144F6-1F44-484E-96B6-CAB23FCB330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328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veeam_software/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.png"/><Relationship Id="rId7" Type="http://schemas.openxmlformats.org/officeDocument/2006/relationships/hyperlink" Target="https://www.facebook.com/VeeamSoftware/" TargetMode="External"/><Relationship Id="rId12" Type="http://schemas.openxmlformats.org/officeDocument/2006/relationships/hyperlink" Target="https://www.youtube.com/@veeam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11" Type="http://schemas.openxmlformats.org/officeDocument/2006/relationships/image" Target="../media/image26.svg"/><Relationship Id="rId5" Type="http://schemas.openxmlformats.org/officeDocument/2006/relationships/hyperlink" Target="https://community.veeam.com/" TargetMode="External"/><Relationship Id="rId15" Type="http://schemas.openxmlformats.org/officeDocument/2006/relationships/image" Target="../media/image28.png"/><Relationship Id="rId10" Type="http://schemas.openxmlformats.org/officeDocument/2006/relationships/image" Target="../media/image25.png"/><Relationship Id="rId4" Type="http://schemas.openxmlformats.org/officeDocument/2006/relationships/image" Target="../media/image3.svg"/><Relationship Id="rId9" Type="http://schemas.openxmlformats.org/officeDocument/2006/relationships/hyperlink" Target="https://twitter.com/Veeam" TargetMode="External"/><Relationship Id="rId14" Type="http://schemas.openxmlformats.org/officeDocument/2006/relationships/hyperlink" Target="https://www.linkedin.com/company/veeam-software/" TargetMode="Externa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veeam_software/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.png"/><Relationship Id="rId7" Type="http://schemas.openxmlformats.org/officeDocument/2006/relationships/hyperlink" Target="https://www.facebook.com/VeeamSoftware/" TargetMode="External"/><Relationship Id="rId12" Type="http://schemas.openxmlformats.org/officeDocument/2006/relationships/hyperlink" Target="https://www.youtube.com/@veeam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11" Type="http://schemas.openxmlformats.org/officeDocument/2006/relationships/image" Target="../media/image26.svg"/><Relationship Id="rId5" Type="http://schemas.openxmlformats.org/officeDocument/2006/relationships/hyperlink" Target="https://community.veeam.com/" TargetMode="External"/><Relationship Id="rId15" Type="http://schemas.openxmlformats.org/officeDocument/2006/relationships/image" Target="../media/image28.png"/><Relationship Id="rId10" Type="http://schemas.openxmlformats.org/officeDocument/2006/relationships/image" Target="../media/image25.png"/><Relationship Id="rId4" Type="http://schemas.openxmlformats.org/officeDocument/2006/relationships/image" Target="../media/image3.svg"/><Relationship Id="rId9" Type="http://schemas.openxmlformats.org/officeDocument/2006/relationships/hyperlink" Target="https://twitter.com/Veeam" TargetMode="External"/><Relationship Id="rId14" Type="http://schemas.openxmlformats.org/officeDocument/2006/relationships/hyperlink" Target="https://www.linkedin.com/company/veeam-software/" TargetMode="Externa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veeam_software/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31.png"/><Relationship Id="rId7" Type="http://schemas.openxmlformats.org/officeDocument/2006/relationships/hyperlink" Target="https://www.facebook.com/VeeamSoftware/" TargetMode="External"/><Relationship Id="rId12" Type="http://schemas.openxmlformats.org/officeDocument/2006/relationships/hyperlink" Target="https://www.youtube.com/@veeam" TargetMode="External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11" Type="http://schemas.openxmlformats.org/officeDocument/2006/relationships/image" Target="../media/image26.svg"/><Relationship Id="rId5" Type="http://schemas.openxmlformats.org/officeDocument/2006/relationships/hyperlink" Target="https://community.veeam.com/" TargetMode="External"/><Relationship Id="rId15" Type="http://schemas.openxmlformats.org/officeDocument/2006/relationships/image" Target="../media/image28.png"/><Relationship Id="rId10" Type="http://schemas.openxmlformats.org/officeDocument/2006/relationships/image" Target="../media/image25.png"/><Relationship Id="rId4" Type="http://schemas.openxmlformats.org/officeDocument/2006/relationships/image" Target="../media/image32.svg"/><Relationship Id="rId9" Type="http://schemas.openxmlformats.org/officeDocument/2006/relationships/hyperlink" Target="https://twitter.com/Veeam" TargetMode="External"/><Relationship Id="rId14" Type="http://schemas.openxmlformats.org/officeDocument/2006/relationships/hyperlink" Target="https://www.linkedin.com/company/veeam-software/" TargetMode="Externa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VeeamSoftware/" TargetMode="External"/><Relationship Id="rId13" Type="http://schemas.openxmlformats.org/officeDocument/2006/relationships/hyperlink" Target="https://www.youtube.com/@veeam" TargetMode="External"/><Relationship Id="rId3" Type="http://schemas.openxmlformats.org/officeDocument/2006/relationships/image" Target="../media/image5.png"/><Relationship Id="rId7" Type="http://schemas.openxmlformats.org/officeDocument/2006/relationships/image" Target="../media/image24.png"/><Relationship Id="rId12" Type="http://schemas.openxmlformats.org/officeDocument/2006/relationships/image" Target="../media/image26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8.png"/><Relationship Id="rId1" Type="http://schemas.openxmlformats.org/officeDocument/2006/relationships/themeOverride" Target="../theme/themeOverride1.xml"/><Relationship Id="rId6" Type="http://schemas.openxmlformats.org/officeDocument/2006/relationships/hyperlink" Target="https://community.veeam.com/" TargetMode="External"/><Relationship Id="rId11" Type="http://schemas.openxmlformats.org/officeDocument/2006/relationships/image" Target="../media/image25.png"/><Relationship Id="rId5" Type="http://schemas.openxmlformats.org/officeDocument/2006/relationships/image" Target="../media/image34.svg"/><Relationship Id="rId15" Type="http://schemas.openxmlformats.org/officeDocument/2006/relationships/hyperlink" Target="https://www.linkedin.com/company/veeam-software/" TargetMode="External"/><Relationship Id="rId10" Type="http://schemas.openxmlformats.org/officeDocument/2006/relationships/hyperlink" Target="https://twitter.com/Veeam" TargetMode="External"/><Relationship Id="rId4" Type="http://schemas.openxmlformats.org/officeDocument/2006/relationships/image" Target="../media/image33.png"/><Relationship Id="rId9" Type="http://schemas.openxmlformats.org/officeDocument/2006/relationships/hyperlink" Target="https://www.instagram.com/veeam_software/" TargetMode="External"/><Relationship Id="rId14" Type="http://schemas.openxmlformats.org/officeDocument/2006/relationships/image" Target="../media/image27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2F1153D-CB0F-BB40-3E15-C9DC5D790961}"/>
              </a:ext>
            </a:extLst>
          </p:cNvPr>
          <p:cNvSpPr/>
          <p:nvPr userDrawn="1"/>
        </p:nvSpPr>
        <p:spPr>
          <a:xfrm>
            <a:off x="0" y="-18997"/>
            <a:ext cx="12192000" cy="5865318"/>
          </a:xfrm>
          <a:custGeom>
            <a:avLst/>
            <a:gdLst>
              <a:gd name="connsiteX0" fmla="*/ 0 w 12192000"/>
              <a:gd name="connsiteY0" fmla="*/ 0 h 5865318"/>
              <a:gd name="connsiteX1" fmla="*/ 797535 w 12192000"/>
              <a:gd name="connsiteY1" fmla="*/ 0 h 5865318"/>
              <a:gd name="connsiteX2" fmla="*/ 5613390 w 12192000"/>
              <a:gd name="connsiteY2" fmla="*/ 4815480 h 5865318"/>
              <a:gd name="connsiteX3" fmla="*/ 6578610 w 12192000"/>
              <a:gd name="connsiteY3" fmla="*/ 4815480 h 5865318"/>
              <a:gd name="connsiteX4" fmla="*/ 11261178 w 12192000"/>
              <a:gd name="connsiteY4" fmla="*/ 133278 h 5865318"/>
              <a:gd name="connsiteX5" fmla="*/ 11394466 w 12192000"/>
              <a:gd name="connsiteY5" fmla="*/ 0 h 5865318"/>
              <a:gd name="connsiteX6" fmla="*/ 12192000 w 12192000"/>
              <a:gd name="connsiteY6" fmla="*/ 0 h 5865318"/>
              <a:gd name="connsiteX7" fmla="*/ 12192000 w 12192000"/>
              <a:gd name="connsiteY7" fmla="*/ 4291292 h 5865318"/>
              <a:gd name="connsiteX8" fmla="*/ 12130037 w 12192000"/>
              <a:gd name="connsiteY8" fmla="*/ 4353124 h 5865318"/>
              <a:gd name="connsiteX9" fmla="*/ 11617391 w 12192000"/>
              <a:gd name="connsiteY9" fmla="*/ 4864691 h 5865318"/>
              <a:gd name="connsiteX10" fmla="*/ 9228878 w 12192000"/>
              <a:gd name="connsiteY10" fmla="*/ 5865318 h 5865318"/>
              <a:gd name="connsiteX11" fmla="*/ 2979482 w 12192000"/>
              <a:gd name="connsiteY11" fmla="*/ 5865318 h 5865318"/>
              <a:gd name="connsiteX12" fmla="*/ 574609 w 12192000"/>
              <a:gd name="connsiteY12" fmla="*/ 4864691 h 5865318"/>
              <a:gd name="connsiteX13" fmla="*/ 263974 w 12192000"/>
              <a:gd name="connsiteY13" fmla="*/ 4554710 h 5865318"/>
              <a:gd name="connsiteX14" fmla="*/ 0 w 12192000"/>
              <a:gd name="connsiteY14" fmla="*/ 4291292 h 586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5865318">
                <a:moveTo>
                  <a:pt x="0" y="0"/>
                </a:moveTo>
                <a:lnTo>
                  <a:pt x="797535" y="0"/>
                </a:lnTo>
                <a:lnTo>
                  <a:pt x="5613390" y="4815480"/>
                </a:lnTo>
                <a:cubicBezTo>
                  <a:pt x="5875144" y="5094344"/>
                  <a:pt x="6316856" y="5094344"/>
                  <a:pt x="6578610" y="4815480"/>
                </a:cubicBezTo>
                <a:cubicBezTo>
                  <a:pt x="8984505" y="2409773"/>
                  <a:pt x="10413006" y="981384"/>
                  <a:pt x="11261178" y="133278"/>
                </a:cubicBezTo>
                <a:lnTo>
                  <a:pt x="11394466" y="0"/>
                </a:lnTo>
                <a:lnTo>
                  <a:pt x="12192000" y="0"/>
                </a:lnTo>
                <a:lnTo>
                  <a:pt x="12192000" y="4291292"/>
                </a:lnTo>
                <a:lnTo>
                  <a:pt x="12130037" y="4353124"/>
                </a:lnTo>
                <a:cubicBezTo>
                  <a:pt x="11617391" y="4864691"/>
                  <a:pt x="11617391" y="4864691"/>
                  <a:pt x="11617391" y="4864691"/>
                </a:cubicBezTo>
                <a:cubicBezTo>
                  <a:pt x="10979364" y="5504436"/>
                  <a:pt x="10112301" y="5865318"/>
                  <a:pt x="9228878" y="5865318"/>
                </a:cubicBezTo>
                <a:cubicBezTo>
                  <a:pt x="2979482" y="5865318"/>
                  <a:pt x="2979482" y="5865318"/>
                  <a:pt x="2979482" y="5865318"/>
                </a:cubicBezTo>
                <a:cubicBezTo>
                  <a:pt x="2079699" y="5865318"/>
                  <a:pt x="1212636" y="5504436"/>
                  <a:pt x="574609" y="4864691"/>
                </a:cubicBezTo>
                <a:cubicBezTo>
                  <a:pt x="467760" y="4758067"/>
                  <a:pt x="364250" y="4654775"/>
                  <a:pt x="263974" y="4554710"/>
                </a:cubicBezTo>
                <a:lnTo>
                  <a:pt x="0" y="4291292"/>
                </a:lnTo>
                <a:close/>
              </a:path>
            </a:pathLst>
          </a:custGeom>
          <a:gradFill flip="none" rotWithShape="1">
            <a:gsLst>
              <a:gs pos="56000">
                <a:srgbClr val="00D05D">
                  <a:lumMod val="60000"/>
                  <a:lumOff val="40000"/>
                  <a:alpha val="9000"/>
                </a:srgbClr>
              </a:gs>
              <a:gs pos="100000">
                <a:srgbClr val="00D05D">
                  <a:lumMod val="60000"/>
                  <a:lumOff val="40000"/>
                </a:srgbClr>
              </a:gs>
            </a:gsLst>
            <a:lin ang="24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CDB086E-9F87-4B33-D62C-A31BB4E547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3751" y="1731962"/>
            <a:ext cx="10536764" cy="2581299"/>
          </a:xfrm>
        </p:spPr>
        <p:txBody>
          <a:bodyPr anchor="ctr">
            <a:normAutofit/>
          </a:bodyPr>
          <a:lstStyle>
            <a:lvl1pPr algn="l">
              <a:lnSpc>
                <a:spcPct val="85000"/>
              </a:lnSpc>
              <a:defRPr lang="en-US" sz="8900" b="0" i="0" kern="1200" spc="-150" baseline="0" dirty="0">
                <a:solidFill>
                  <a:schemeClr val="accent1"/>
                </a:solidFill>
                <a:latin typeface="ES Build" pitchFamily="2" charset="77"/>
                <a:ea typeface="ES Build" pitchFamily="2" charset="77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42BD3E-E39E-7A26-D12A-C298830544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3751" y="4316414"/>
            <a:ext cx="10536764" cy="487705"/>
          </a:xfrm>
        </p:spPr>
        <p:txBody>
          <a:bodyPr/>
          <a:lstStyle>
            <a:lvl1pPr marL="0" indent="0" algn="l">
              <a:buNone/>
              <a:defRPr sz="2400" b="0" i="0">
                <a:solidFill>
                  <a:schemeClr val="accent1"/>
                </a:solidFill>
                <a:latin typeface="ES Build" pitchFamily="2" charset="77"/>
                <a:ea typeface="ES Build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003DDA7-BB6B-1A41-0568-1C5C4CCF8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2098" y="6301069"/>
            <a:ext cx="5185316" cy="22434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690116-9B72-3EEE-97F1-4D2A1B6B135C}"/>
              </a:ext>
            </a:extLst>
          </p:cNvPr>
          <p:cNvCxnSpPr>
            <a:cxnSpLocks/>
          </p:cNvCxnSpPr>
          <p:nvPr userDrawn="1"/>
        </p:nvCxnSpPr>
        <p:spPr>
          <a:xfrm>
            <a:off x="782564" y="6167438"/>
            <a:ext cx="10547951" cy="0"/>
          </a:xfrm>
          <a:prstGeom prst="line">
            <a:avLst/>
          </a:prstGeom>
          <a:ln w="19050" cap="sq">
            <a:solidFill>
              <a:schemeClr val="accent1"/>
            </a:solidFill>
            <a:miter lim="800000"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49F3AE38-4231-B0CE-AB29-418E99AE75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2097" y="691400"/>
            <a:ext cx="1351504" cy="419154"/>
          </a:xfrm>
          <a:prstGeom prst="rect">
            <a:avLst/>
          </a:prstGeom>
        </p:spPr>
      </p:pic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B784AAB-C227-31A8-F220-A60DC51705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751" y="1528837"/>
            <a:ext cx="3276599" cy="274955"/>
          </a:xfrm>
        </p:spPr>
        <p:txBody>
          <a:bodyPr>
            <a:noAutofit/>
          </a:bodyPr>
          <a:lstStyle>
            <a:lvl1pPr marL="0" indent="0">
              <a:buNone/>
              <a:defRPr sz="1600" b="0" spc="0" baseline="0">
                <a:solidFill>
                  <a:schemeClr val="accent1"/>
                </a:solidFill>
                <a:latin typeface="ES Build Medium" pitchFamily="2" charset="0"/>
                <a:ea typeface="ES Build Medium" pitchFamily="2" charset="0"/>
              </a:defRPr>
            </a:lvl1pPr>
            <a:lvl2pPr>
              <a:defRPr b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FAE751CD-EF2C-3A61-EE9B-1DF1A1E8E9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6493" y="5140383"/>
            <a:ext cx="2893401" cy="68251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 b="0" i="0">
                <a:solidFill>
                  <a:schemeClr val="accent1"/>
                </a:solidFill>
                <a:latin typeface="ES Build "/>
                <a:ea typeface="ES Build Neutral" pitchFamily="2" charset="77"/>
              </a:defRPr>
            </a:lvl1pPr>
            <a:lvl2pPr marL="0" indent="0">
              <a:lnSpc>
                <a:spcPct val="80000"/>
              </a:lnSpc>
              <a:buNone/>
              <a:defRPr sz="1600" b="0" i="0">
                <a:solidFill>
                  <a:schemeClr val="accent1"/>
                </a:solidFill>
                <a:latin typeface="ES Build Neutral" pitchFamily="2" charset="77"/>
                <a:ea typeface="ES Build Neutral" pitchFamily="2" charset="77"/>
              </a:defRPr>
            </a:lvl2pPr>
          </a:lstStyle>
          <a:p>
            <a:pPr lvl="0"/>
            <a:r>
              <a:rPr lang="en-US" dirty="0"/>
              <a:t>Speaker 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54C71E-309C-BF9C-34AD-A13754FE765D}"/>
              </a:ext>
            </a:extLst>
          </p:cNvPr>
          <p:cNvSpPr txBox="1"/>
          <p:nvPr userDrawn="1"/>
        </p:nvSpPr>
        <p:spPr>
          <a:xfrm>
            <a:off x="765932" y="6562482"/>
            <a:ext cx="521183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accent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57109EE7-7309-7DBE-3CB2-28C0D1D8BFA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097" y="5081588"/>
            <a:ext cx="800100" cy="800100"/>
          </a:xfrm>
          <a:prstGeom prst="ellipse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F6607B47-7BE7-21F9-D394-BAE6F010D9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594" y="5130801"/>
            <a:ext cx="2871027" cy="701675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 b="0" i="0">
                <a:solidFill>
                  <a:schemeClr val="accent1"/>
                </a:solidFill>
                <a:latin typeface="ES Build "/>
                <a:ea typeface="ES Build Neutral" pitchFamily="2" charset="77"/>
              </a:defRPr>
            </a:lvl1pPr>
            <a:lvl2pPr marL="0" indent="0">
              <a:lnSpc>
                <a:spcPct val="80000"/>
              </a:lnSpc>
              <a:buNone/>
              <a:defRPr sz="1600" b="0" i="0">
                <a:solidFill>
                  <a:schemeClr val="accent1"/>
                </a:solidFill>
                <a:latin typeface="ES Build Neutral" pitchFamily="2" charset="77"/>
                <a:ea typeface="ES Build Neutral" pitchFamily="2" charset="77"/>
              </a:defRPr>
            </a:lvl2pPr>
          </a:lstStyle>
          <a:p>
            <a:pPr lvl="0"/>
            <a:r>
              <a:rPr lang="en-US" dirty="0"/>
              <a:t>Speaker 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Picture Placeholder 26">
            <a:extLst>
              <a:ext uri="{FF2B5EF4-FFF2-40B4-BE49-F238E27FC236}">
                <a16:creationId xmlns:a16="http://schemas.microsoft.com/office/drawing/2014/main" id="{13350D35-9103-3C22-DB9B-10617CC468D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67364" y="5081588"/>
            <a:ext cx="800100" cy="800100"/>
          </a:xfrm>
          <a:prstGeom prst="ellipse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8829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26ED3E18-DCF2-26A9-EBA1-C8E4CB6EA91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1719645"/>
            <a:ext cx="3575304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4E0AE383-F63F-4E9C-C666-B46D64D5961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08475" y="1719645"/>
            <a:ext cx="3575304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A29DE87B-148E-A6ED-3FB2-A054842ECC3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123662" y="1722852"/>
            <a:ext cx="3575304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30485577-8D00-F652-EBBF-B564E0C7B9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B493ACF-4E2D-428C-3232-50138B18E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BEABD273-C1AD-68DB-61DB-6CB4AB7FA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066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eighted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30CC4F6A-09EF-CA7A-135E-2A7DA3DE8BE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21263" y="1717247"/>
            <a:ext cx="6675427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5AF29E0F-6083-2CD4-1B4E-30B7C943B13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1719645"/>
            <a:ext cx="3815188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9C83AE-EEB9-8559-C60D-D57900997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</p:spPr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55588C1-C39D-1F0E-C67A-287A95C2A2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6">
            <a:extLst>
              <a:ext uri="{FF2B5EF4-FFF2-40B4-BE49-F238E27FC236}">
                <a16:creationId xmlns:a16="http://schemas.microsoft.com/office/drawing/2014/main" id="{DF4FE5C4-523F-7647-BD86-2EB73DE91C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424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010F1B0C-9864-2B66-5550-B51ABB2181E0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308474" y="685800"/>
            <a:ext cx="3573463" cy="2400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B5C4591E-0299-D4CA-4EC0-2577AB9AD23E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305299" y="3432997"/>
            <a:ext cx="3575304" cy="2400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2DFD2880-9F34-6A2B-7962-CB957956847C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125919" y="685800"/>
            <a:ext cx="3575304" cy="2400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3CD8E177-2464-66B3-840E-6CF2156BC4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125919" y="3432997"/>
            <a:ext cx="3575304" cy="2400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5A595E0-7C19-EE8D-F4C3-E5B7E5507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88" y="2075392"/>
            <a:ext cx="2861099" cy="1471461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4386C81-DD1C-6DF3-6E7E-04FBACCF8C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3" y="3675854"/>
            <a:ext cx="2860675" cy="628841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Footer Placeholder 66">
            <a:extLst>
              <a:ext uri="{FF2B5EF4-FFF2-40B4-BE49-F238E27FC236}">
                <a16:creationId xmlns:a16="http://schemas.microsoft.com/office/drawing/2014/main" id="{D5D0586B-0112-D2A3-5141-4F52B0D0E4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8769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E7B2A64-C4B7-C367-988A-AF7D9B55C4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10300" y="0"/>
            <a:ext cx="5981700" cy="6858000"/>
          </a:xfrm>
          <a:custGeom>
            <a:avLst/>
            <a:gdLst>
              <a:gd name="connsiteX0" fmla="*/ 0 w 5981700"/>
              <a:gd name="connsiteY0" fmla="*/ 0 h 6858000"/>
              <a:gd name="connsiteX1" fmla="*/ 5981700 w 5981700"/>
              <a:gd name="connsiteY1" fmla="*/ 0 h 6858000"/>
              <a:gd name="connsiteX2" fmla="*/ 5981700 w 5981700"/>
              <a:gd name="connsiteY2" fmla="*/ 6858000 h 6858000"/>
              <a:gd name="connsiteX3" fmla="*/ 868521 w 5981700"/>
              <a:gd name="connsiteY3" fmla="*/ 6858000 h 6858000"/>
              <a:gd name="connsiteX4" fmla="*/ 832220 w 5981700"/>
              <a:gd name="connsiteY4" fmla="*/ 6854460 h 6858000"/>
              <a:gd name="connsiteX5" fmla="*/ 628589 w 5981700"/>
              <a:gd name="connsiteY5" fmla="*/ 6746455 h 6858000"/>
              <a:gd name="connsiteX6" fmla="*/ 108122 w 5981700"/>
              <a:gd name="connsiteY6" fmla="*/ 6225987 h 6858000"/>
              <a:gd name="connsiteX7" fmla="*/ 21455 w 5981700"/>
              <a:gd name="connsiteY7" fmla="*/ 6095966 h 6858000"/>
              <a:gd name="connsiteX8" fmla="*/ 0 w 5981700"/>
              <a:gd name="connsiteY8" fmla="*/ 60250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1700" h="6858000">
                <a:moveTo>
                  <a:pt x="0" y="0"/>
                </a:moveTo>
                <a:lnTo>
                  <a:pt x="5981700" y="0"/>
                </a:lnTo>
                <a:lnTo>
                  <a:pt x="5981700" y="6858000"/>
                </a:lnTo>
                <a:lnTo>
                  <a:pt x="868521" y="6858000"/>
                </a:lnTo>
                <a:lnTo>
                  <a:pt x="832220" y="6854460"/>
                </a:lnTo>
                <a:cubicBezTo>
                  <a:pt x="755128" y="6839198"/>
                  <a:pt x="683798" y="6801663"/>
                  <a:pt x="628589" y="6746455"/>
                </a:cubicBezTo>
                <a:lnTo>
                  <a:pt x="108122" y="6225987"/>
                </a:lnTo>
                <a:cubicBezTo>
                  <a:pt x="70644" y="6188509"/>
                  <a:pt x="41357" y="6144201"/>
                  <a:pt x="21455" y="6095966"/>
                </a:cubicBezTo>
                <a:lnTo>
                  <a:pt x="0" y="60250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182880" tIns="182880" rIns="0" anchor="t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ease use Veeam approved imag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D7778CF-A5E1-5836-F550-AC9C3D684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257" y="1679120"/>
            <a:ext cx="4654906" cy="3118757"/>
          </a:xfrm>
        </p:spPr>
        <p:txBody>
          <a:bodyPr anchor="t"/>
          <a:lstStyle>
            <a:lvl1pPr>
              <a:lnSpc>
                <a:spcPct val="87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0" name="object 2">
            <a:extLst>
              <a:ext uri="{FF2B5EF4-FFF2-40B4-BE49-F238E27FC236}">
                <a16:creationId xmlns:a16="http://schemas.microsoft.com/office/drawing/2014/main" id="{520EAD5B-EE6E-076C-443E-61899DD92BA2}"/>
              </a:ext>
            </a:extLst>
          </p:cNvPr>
          <p:cNvSpPr/>
          <p:nvPr userDrawn="1"/>
        </p:nvSpPr>
        <p:spPr>
          <a:xfrm>
            <a:off x="528239" y="1034733"/>
            <a:ext cx="468070" cy="468069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14ACDD1A-48D3-FFFC-3E6E-5E80D7C7A5F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3258" y="5078194"/>
            <a:ext cx="4654906" cy="747931"/>
          </a:xfrm>
        </p:spPr>
        <p:txBody>
          <a:bodyPr/>
          <a:lstStyle>
            <a:lvl1pPr marL="0" indent="0" algn="l">
              <a:buNone/>
              <a:defRPr lang="en-US" sz="2400" b="0" i="0" kern="1200" dirty="0">
                <a:solidFill>
                  <a:srgbClr val="8E71F4"/>
                </a:solidFill>
                <a:latin typeface="ES Build" pitchFamily="2" charset="77"/>
                <a:ea typeface="ES Build" pitchFamily="2" charset="77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96000"/>
              </a:lnSpc>
              <a:spcBef>
                <a:spcPts val="90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tabLst/>
            </a:pPr>
            <a:r>
              <a:rPr lang="en-US" dirty="0"/>
              <a:t>Attribution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A0D135D-6F15-EEE1-0D80-1B6A2A23BD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407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ED376942-9122-FE26-7F33-37835C84C2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10300" y="0"/>
            <a:ext cx="5981700" cy="6858000"/>
          </a:xfrm>
          <a:custGeom>
            <a:avLst/>
            <a:gdLst>
              <a:gd name="connsiteX0" fmla="*/ 0 w 5981700"/>
              <a:gd name="connsiteY0" fmla="*/ 0 h 6858000"/>
              <a:gd name="connsiteX1" fmla="*/ 5981700 w 5981700"/>
              <a:gd name="connsiteY1" fmla="*/ 0 h 6858000"/>
              <a:gd name="connsiteX2" fmla="*/ 5981700 w 5981700"/>
              <a:gd name="connsiteY2" fmla="*/ 6858000 h 6858000"/>
              <a:gd name="connsiteX3" fmla="*/ 868521 w 5981700"/>
              <a:gd name="connsiteY3" fmla="*/ 6858000 h 6858000"/>
              <a:gd name="connsiteX4" fmla="*/ 832220 w 5981700"/>
              <a:gd name="connsiteY4" fmla="*/ 6854460 h 6858000"/>
              <a:gd name="connsiteX5" fmla="*/ 628589 w 5981700"/>
              <a:gd name="connsiteY5" fmla="*/ 6746455 h 6858000"/>
              <a:gd name="connsiteX6" fmla="*/ 108122 w 5981700"/>
              <a:gd name="connsiteY6" fmla="*/ 6225987 h 6858000"/>
              <a:gd name="connsiteX7" fmla="*/ 21455 w 5981700"/>
              <a:gd name="connsiteY7" fmla="*/ 6095966 h 6858000"/>
              <a:gd name="connsiteX8" fmla="*/ 0 w 5981700"/>
              <a:gd name="connsiteY8" fmla="*/ 60250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1700" h="6858000">
                <a:moveTo>
                  <a:pt x="0" y="0"/>
                </a:moveTo>
                <a:lnTo>
                  <a:pt x="5981700" y="0"/>
                </a:lnTo>
                <a:lnTo>
                  <a:pt x="5981700" y="6858000"/>
                </a:lnTo>
                <a:lnTo>
                  <a:pt x="868521" y="6858000"/>
                </a:lnTo>
                <a:lnTo>
                  <a:pt x="832220" y="6854460"/>
                </a:lnTo>
                <a:cubicBezTo>
                  <a:pt x="755128" y="6839198"/>
                  <a:pt x="683798" y="6801663"/>
                  <a:pt x="628589" y="6746455"/>
                </a:cubicBezTo>
                <a:lnTo>
                  <a:pt x="108122" y="6225987"/>
                </a:lnTo>
                <a:cubicBezTo>
                  <a:pt x="70644" y="6188509"/>
                  <a:pt x="41357" y="6144201"/>
                  <a:pt x="21455" y="6095966"/>
                </a:cubicBezTo>
                <a:lnTo>
                  <a:pt x="0" y="60250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182880" tIns="182880" rIns="0" anchor="t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lease use Veeam approved images</a:t>
            </a:r>
          </a:p>
        </p:txBody>
      </p:sp>
      <p:sp>
        <p:nvSpPr>
          <p:cNvPr id="3" name="Footer Placeholder 66">
            <a:extLst>
              <a:ext uri="{FF2B5EF4-FFF2-40B4-BE49-F238E27FC236}">
                <a16:creationId xmlns:a16="http://schemas.microsoft.com/office/drawing/2014/main" id="{390F180B-8D91-8B67-65C1-D31CA48002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B160CC1-C532-FC64-CF24-FBC6F71CD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246" y="342900"/>
            <a:ext cx="5124451" cy="682625"/>
          </a:xfrm>
        </p:spPr>
        <p:txBody>
          <a:bodyPr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DC91D18-D941-B968-8B2A-E296B55FD2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3" y="1032607"/>
            <a:ext cx="5124451" cy="33899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B9F2A843-E47E-7C1D-C8AB-5E24DBAC316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1719645"/>
            <a:ext cx="5124452" cy="4449380"/>
          </a:xfrm>
        </p:spPr>
        <p:txBody>
          <a:bodyPr anchor="t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A5D73F9-1845-9066-F594-D54B404C10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6291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amp; Pictur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7FBCB4-2AC0-192D-7144-A7BE8A053CE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7088" y="1556763"/>
            <a:ext cx="3805237" cy="3744474"/>
          </a:xfrm>
          <a:prstGeom prst="roundRect">
            <a:avLst>
              <a:gd name="adj" fmla="val 869"/>
            </a:avLst>
          </a:prstGeom>
          <a:solidFill>
            <a:schemeClr val="bg2"/>
          </a:solidFill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lease use Veeam approved images</a:t>
            </a: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3B21599D-5CF1-B6C2-D0C7-91432748B476}"/>
              </a:ext>
            </a:extLst>
          </p:cNvPr>
          <p:cNvSpPr/>
          <p:nvPr userDrawn="1"/>
        </p:nvSpPr>
        <p:spPr>
          <a:xfrm>
            <a:off x="6857009" y="1213653"/>
            <a:ext cx="422320" cy="422318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68ECF173-E18B-1953-ACA9-0490C3A096A0}"/>
              </a:ext>
            </a:extLst>
          </p:cNvPr>
          <p:cNvSpPr/>
          <p:nvPr userDrawn="1"/>
        </p:nvSpPr>
        <p:spPr>
          <a:xfrm rot="10800000">
            <a:off x="10871208" y="5200104"/>
            <a:ext cx="422320" cy="422318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3" name="Footer Placeholder 66">
            <a:extLst>
              <a:ext uri="{FF2B5EF4-FFF2-40B4-BE49-F238E27FC236}">
                <a16:creationId xmlns:a16="http://schemas.microsoft.com/office/drawing/2014/main" id="{07F7C4CB-3D01-47C2-FC3C-7701C53417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3712A25C-AB6D-81A9-BBF7-68C895E83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5721351" cy="682625"/>
          </a:xfrm>
        </p:spPr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A89F9B7-AE4B-C7FE-569A-F8DCD63515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5712883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0802ECFE-2E8E-5C84-DEFB-1B038B1E07D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5712883" cy="4449380"/>
          </a:xfrm>
        </p:spPr>
        <p:txBody>
          <a:bodyPr anchor="t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994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Left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Footer Placeholder 66">
            <a:extLst>
              <a:ext uri="{FF2B5EF4-FFF2-40B4-BE49-F238E27FC236}">
                <a16:creationId xmlns:a16="http://schemas.microsoft.com/office/drawing/2014/main" id="{8D4A966B-B53C-F2FC-D0C5-9BA62824DD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1E4FAE-DFE1-398C-FA0F-A0388EBC4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668BEB9-9234-7E67-DA77-389713DE99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8789FD9D-6C75-950D-5E12-9EAC4570C8D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5"/>
            <a:ext cx="7391400" cy="5489607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FF3B821-C1A6-2271-E3E1-099796B30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66DF71-054C-5BA0-B7F5-C1AF6620EFC7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3702050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Left Stack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Footer Placeholder 66">
            <a:extLst>
              <a:ext uri="{FF2B5EF4-FFF2-40B4-BE49-F238E27FC236}">
                <a16:creationId xmlns:a16="http://schemas.microsoft.com/office/drawing/2014/main" id="{5A937196-A9E2-700D-0EF2-E8B6E1F366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FBCBD4-DA05-4F0F-6763-A747F0C03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57F8780-D8D3-B2FE-FCC9-87A2007A93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F0DE43A-B43F-04DF-5809-BD4DF20EF5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6"/>
            <a:ext cx="7391400" cy="377190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EF926072-FA82-9BDD-9A63-4F6798DC9F6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15631" y="4797425"/>
            <a:ext cx="7391400" cy="1377949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A2565B-B998-5BF9-DC86-72456ED8ED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AF60B4-CC56-BD9A-1302-702EEC8C61AB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1974137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Left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56B29AAB-9836-4222-2373-744FDA40340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5"/>
            <a:ext cx="2263775" cy="5486399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A4DE8E80-1063-4890-3D52-F10E95DE840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52895" y="690564"/>
            <a:ext cx="4954135" cy="5486398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6D7EDEC-72BB-0FBE-E163-12DA39051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2F6A416-87B9-D95B-4D6C-EC86BD6B6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0D705D89-7F64-DEBF-AD72-C0380014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DD8AC79-0A9C-4390-C9DE-85891A71D5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F24600-DD81-1C90-6E3F-FD1DE119855D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15991607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 Left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Footer Placeholder 66">
            <a:extLst>
              <a:ext uri="{FF2B5EF4-FFF2-40B4-BE49-F238E27FC236}">
                <a16:creationId xmlns:a16="http://schemas.microsoft.com/office/drawing/2014/main" id="{8D4A966B-B53C-F2FC-D0C5-9BA62824DD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01E4FAE-DFE1-398C-FA0F-A0388EBC4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668BEB9-9234-7E67-DA77-389713DE99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accent2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8789FD9D-6C75-950D-5E12-9EAC4570C8D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5"/>
            <a:ext cx="7391400" cy="5489607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FF3B821-C1A6-2271-E3E1-099796B307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66DF71-054C-5BA0-B7F5-C1AF6620EFC7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2802275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s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C4EA630-F31C-B26E-C41D-1AE51E2F93D3}"/>
              </a:ext>
            </a:extLst>
          </p:cNvPr>
          <p:cNvSpPr/>
          <p:nvPr userDrawn="1"/>
        </p:nvSpPr>
        <p:spPr>
          <a:xfrm>
            <a:off x="0" y="-18997"/>
            <a:ext cx="12192000" cy="5865318"/>
          </a:xfrm>
          <a:custGeom>
            <a:avLst/>
            <a:gdLst>
              <a:gd name="connsiteX0" fmla="*/ 0 w 12192000"/>
              <a:gd name="connsiteY0" fmla="*/ 0 h 5865318"/>
              <a:gd name="connsiteX1" fmla="*/ 797535 w 12192000"/>
              <a:gd name="connsiteY1" fmla="*/ 0 h 5865318"/>
              <a:gd name="connsiteX2" fmla="*/ 5613390 w 12192000"/>
              <a:gd name="connsiteY2" fmla="*/ 4815480 h 5865318"/>
              <a:gd name="connsiteX3" fmla="*/ 6578610 w 12192000"/>
              <a:gd name="connsiteY3" fmla="*/ 4815480 h 5865318"/>
              <a:gd name="connsiteX4" fmla="*/ 11261178 w 12192000"/>
              <a:gd name="connsiteY4" fmla="*/ 133278 h 5865318"/>
              <a:gd name="connsiteX5" fmla="*/ 11394466 w 12192000"/>
              <a:gd name="connsiteY5" fmla="*/ 0 h 5865318"/>
              <a:gd name="connsiteX6" fmla="*/ 12192000 w 12192000"/>
              <a:gd name="connsiteY6" fmla="*/ 0 h 5865318"/>
              <a:gd name="connsiteX7" fmla="*/ 12192000 w 12192000"/>
              <a:gd name="connsiteY7" fmla="*/ 4291292 h 5865318"/>
              <a:gd name="connsiteX8" fmla="*/ 12130037 w 12192000"/>
              <a:gd name="connsiteY8" fmla="*/ 4353124 h 5865318"/>
              <a:gd name="connsiteX9" fmla="*/ 11617391 w 12192000"/>
              <a:gd name="connsiteY9" fmla="*/ 4864691 h 5865318"/>
              <a:gd name="connsiteX10" fmla="*/ 9228878 w 12192000"/>
              <a:gd name="connsiteY10" fmla="*/ 5865318 h 5865318"/>
              <a:gd name="connsiteX11" fmla="*/ 2979482 w 12192000"/>
              <a:gd name="connsiteY11" fmla="*/ 5865318 h 5865318"/>
              <a:gd name="connsiteX12" fmla="*/ 574609 w 12192000"/>
              <a:gd name="connsiteY12" fmla="*/ 4864691 h 5865318"/>
              <a:gd name="connsiteX13" fmla="*/ 263974 w 12192000"/>
              <a:gd name="connsiteY13" fmla="*/ 4554710 h 5865318"/>
              <a:gd name="connsiteX14" fmla="*/ 0 w 12192000"/>
              <a:gd name="connsiteY14" fmla="*/ 4291292 h 586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5865318">
                <a:moveTo>
                  <a:pt x="0" y="0"/>
                </a:moveTo>
                <a:lnTo>
                  <a:pt x="797535" y="0"/>
                </a:lnTo>
                <a:lnTo>
                  <a:pt x="5613390" y="4815480"/>
                </a:lnTo>
                <a:cubicBezTo>
                  <a:pt x="5875144" y="5094344"/>
                  <a:pt x="6316856" y="5094344"/>
                  <a:pt x="6578610" y="4815480"/>
                </a:cubicBezTo>
                <a:cubicBezTo>
                  <a:pt x="8984505" y="2409773"/>
                  <a:pt x="10413006" y="981384"/>
                  <a:pt x="11261178" y="133278"/>
                </a:cubicBezTo>
                <a:lnTo>
                  <a:pt x="11394466" y="0"/>
                </a:lnTo>
                <a:lnTo>
                  <a:pt x="12192000" y="0"/>
                </a:lnTo>
                <a:lnTo>
                  <a:pt x="12192000" y="4291292"/>
                </a:lnTo>
                <a:lnTo>
                  <a:pt x="12130037" y="4353124"/>
                </a:lnTo>
                <a:cubicBezTo>
                  <a:pt x="11617391" y="4864691"/>
                  <a:pt x="11617391" y="4864691"/>
                  <a:pt x="11617391" y="4864691"/>
                </a:cubicBezTo>
                <a:cubicBezTo>
                  <a:pt x="10979364" y="5504436"/>
                  <a:pt x="10112301" y="5865318"/>
                  <a:pt x="9228878" y="5865318"/>
                </a:cubicBezTo>
                <a:cubicBezTo>
                  <a:pt x="2979482" y="5865318"/>
                  <a:pt x="2979482" y="5865318"/>
                  <a:pt x="2979482" y="5865318"/>
                </a:cubicBezTo>
                <a:cubicBezTo>
                  <a:pt x="2079699" y="5865318"/>
                  <a:pt x="1212636" y="5504436"/>
                  <a:pt x="574609" y="4864691"/>
                </a:cubicBezTo>
                <a:cubicBezTo>
                  <a:pt x="467760" y="4758067"/>
                  <a:pt x="364250" y="4654775"/>
                  <a:pt x="263974" y="4554710"/>
                </a:cubicBezTo>
                <a:lnTo>
                  <a:pt x="0" y="4291292"/>
                </a:lnTo>
                <a:close/>
              </a:path>
            </a:pathLst>
          </a:custGeom>
          <a:gradFill flip="none" rotWithShape="1">
            <a:gsLst>
              <a:gs pos="56000">
                <a:srgbClr val="00D05D">
                  <a:lumMod val="60000"/>
                  <a:lumOff val="40000"/>
                  <a:alpha val="9000"/>
                </a:srgbClr>
              </a:gs>
              <a:gs pos="100000">
                <a:srgbClr val="00D05D">
                  <a:lumMod val="60000"/>
                  <a:lumOff val="40000"/>
                </a:srgbClr>
              </a:gs>
            </a:gsLst>
            <a:lin ang="24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23D7488-852F-762F-A2E7-25F02D52C105}"/>
              </a:ext>
            </a:extLst>
          </p:cNvPr>
          <p:cNvSpPr txBox="1"/>
          <p:nvPr userDrawn="1"/>
        </p:nvSpPr>
        <p:spPr>
          <a:xfrm>
            <a:off x="849313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4C813F-B096-DE4B-F7F5-CE100A5968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3751" y="1731962"/>
            <a:ext cx="10536764" cy="2581299"/>
          </a:xfrm>
        </p:spPr>
        <p:txBody>
          <a:bodyPr anchor="ctr">
            <a:normAutofit/>
          </a:bodyPr>
          <a:lstStyle>
            <a:lvl1pPr algn="l">
              <a:lnSpc>
                <a:spcPct val="85000"/>
              </a:lnSpc>
              <a:defRPr lang="en-US" sz="8900" b="0" i="0" kern="1200" spc="-150" baseline="0" dirty="0">
                <a:solidFill>
                  <a:schemeClr val="bg1"/>
                </a:solidFill>
                <a:latin typeface="+mj-lt"/>
                <a:ea typeface="ES Build Full Bauhaus Medium" pitchFamily="2" charset="77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9AD75-0283-2549-8AF7-47F3A5E764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3751" y="4316414"/>
            <a:ext cx="10536764" cy="48770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B1613D-DEBB-D92C-6186-0B896BF9C8FB}"/>
              </a:ext>
            </a:extLst>
          </p:cNvPr>
          <p:cNvCxnSpPr>
            <a:cxnSpLocks/>
          </p:cNvCxnSpPr>
          <p:nvPr userDrawn="1"/>
        </p:nvCxnSpPr>
        <p:spPr>
          <a:xfrm>
            <a:off x="782564" y="6167438"/>
            <a:ext cx="10547951" cy="0"/>
          </a:xfrm>
          <a:prstGeom prst="line">
            <a:avLst/>
          </a:prstGeom>
          <a:ln w="19050" cap="sq">
            <a:solidFill>
              <a:schemeClr val="bg1"/>
            </a:solidFill>
            <a:miter lim="800000"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8F9DFEB2-1CC7-7CE1-82B7-DF521B8D1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751" y="1528837"/>
            <a:ext cx="3276599" cy="274955"/>
          </a:xfrm>
        </p:spPr>
        <p:txBody>
          <a:bodyPr>
            <a:noAutofit/>
          </a:bodyPr>
          <a:lstStyle>
            <a:lvl1pPr marL="0" indent="0">
              <a:buNone/>
              <a:defRPr sz="1600" b="0" spc="0" baseline="0">
                <a:solidFill>
                  <a:schemeClr val="bg1"/>
                </a:solidFill>
                <a:latin typeface="ES Build Medium" pitchFamily="2" charset="0"/>
                <a:ea typeface="ES Build Medium" pitchFamily="2" charset="0"/>
              </a:defRPr>
            </a:lvl1pPr>
            <a:lvl2pPr>
              <a:defRPr b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EAEE6B6C-FAEE-6DEB-A14B-07FC28E579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6493" y="5140383"/>
            <a:ext cx="2893401" cy="68251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buNone/>
              <a:defRPr sz="16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Speaker 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10B99C88-8821-3ECE-59C4-8A768F5F5CD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097" y="5081588"/>
            <a:ext cx="800100" cy="8001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741D5ABD-8D62-4CDF-78A3-9E4500076C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594" y="5130801"/>
            <a:ext cx="2871027" cy="701675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buNone/>
              <a:defRPr sz="16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Speaker 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1" name="Picture Placeholder 26">
            <a:extLst>
              <a:ext uri="{FF2B5EF4-FFF2-40B4-BE49-F238E27FC236}">
                <a16:creationId xmlns:a16="http://schemas.microsoft.com/office/drawing/2014/main" id="{B3AB9D6A-4AF9-E9BF-0B25-42675BF29C8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67364" y="5081588"/>
            <a:ext cx="800100" cy="8001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E55CA-AF59-6E66-F0D9-CF7C6BDA1605}"/>
              </a:ext>
            </a:extLst>
          </p:cNvPr>
          <p:cNvGrpSpPr/>
          <p:nvPr userDrawn="1"/>
        </p:nvGrpSpPr>
        <p:grpSpPr>
          <a:xfrm>
            <a:off x="782097" y="694483"/>
            <a:ext cx="1346160" cy="412987"/>
            <a:chOff x="2406776" y="-1036657"/>
            <a:chExt cx="1346160" cy="412987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FDABD91-B66D-01BA-AC79-497B79E590CC}"/>
                </a:ext>
              </a:extLst>
            </p:cNvPr>
            <p:cNvSpPr/>
            <p:nvPr/>
          </p:nvSpPr>
          <p:spPr>
            <a:xfrm>
              <a:off x="2406776" y="-1036657"/>
              <a:ext cx="1346160" cy="412672"/>
            </a:xfrm>
            <a:custGeom>
              <a:avLst/>
              <a:gdLst>
                <a:gd name="connsiteX0" fmla="*/ 113980 w 1346160"/>
                <a:gd name="connsiteY0" fmla="*/ 0 h 412672"/>
                <a:gd name="connsiteX1" fmla="*/ 81943 w 1346160"/>
                <a:gd name="connsiteY1" fmla="*/ 13537 h 412672"/>
                <a:gd name="connsiteX2" fmla="*/ 13268 w 1346160"/>
                <a:gd name="connsiteY2" fmla="*/ 83602 h 412672"/>
                <a:gd name="connsiteX3" fmla="*/ 0 w 1346160"/>
                <a:gd name="connsiteY3" fmla="*/ 116287 h 412672"/>
                <a:gd name="connsiteX4" fmla="*/ 0 w 1346160"/>
                <a:gd name="connsiteY4" fmla="*/ 412672 h 412672"/>
                <a:gd name="connsiteX5" fmla="*/ 1232900 w 1346160"/>
                <a:gd name="connsiteY5" fmla="*/ 411939 h 412672"/>
                <a:gd name="connsiteX6" fmla="*/ 1264936 w 1346160"/>
                <a:gd name="connsiteY6" fmla="*/ 398402 h 412672"/>
                <a:gd name="connsiteX7" fmla="*/ 1332848 w 1346160"/>
                <a:gd name="connsiteY7" fmla="*/ 329116 h 412672"/>
                <a:gd name="connsiteX8" fmla="*/ 1346116 w 1346160"/>
                <a:gd name="connsiteY8" fmla="*/ 296431 h 412672"/>
                <a:gd name="connsiteX9" fmla="*/ 1346161 w 1346160"/>
                <a:gd name="connsiteY9" fmla="*/ 0 h 412672"/>
                <a:gd name="connsiteX10" fmla="*/ 113980 w 1346160"/>
                <a:gd name="connsiteY10" fmla="*/ 0 h 41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160" h="412672">
                  <a:moveTo>
                    <a:pt x="113980" y="0"/>
                  </a:moveTo>
                  <a:cubicBezTo>
                    <a:pt x="101969" y="0"/>
                    <a:pt x="90430" y="4879"/>
                    <a:pt x="81943" y="13537"/>
                  </a:cubicBezTo>
                  <a:lnTo>
                    <a:pt x="13268" y="83602"/>
                  </a:lnTo>
                  <a:cubicBezTo>
                    <a:pt x="4782" y="92260"/>
                    <a:pt x="0" y="104033"/>
                    <a:pt x="0" y="116287"/>
                  </a:cubicBezTo>
                  <a:lnTo>
                    <a:pt x="0" y="412672"/>
                  </a:lnTo>
                  <a:lnTo>
                    <a:pt x="1232900" y="411939"/>
                  </a:lnTo>
                  <a:cubicBezTo>
                    <a:pt x="1244910" y="411939"/>
                    <a:pt x="1256450" y="407060"/>
                    <a:pt x="1264936" y="398402"/>
                  </a:cubicBezTo>
                  <a:lnTo>
                    <a:pt x="1332848" y="329116"/>
                  </a:lnTo>
                  <a:cubicBezTo>
                    <a:pt x="1341334" y="320458"/>
                    <a:pt x="1346116" y="308685"/>
                    <a:pt x="1346116" y="296431"/>
                  </a:cubicBezTo>
                  <a:lnTo>
                    <a:pt x="1346161" y="0"/>
                  </a:lnTo>
                  <a:lnTo>
                    <a:pt x="113980" y="0"/>
                  </a:lnTo>
                  <a:close/>
                </a:path>
              </a:pathLst>
            </a:custGeom>
            <a:solidFill>
              <a:srgbClr val="00D15F"/>
            </a:solidFill>
            <a:ln w="22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F205B16-B006-81F3-8581-D5F8E8E209DD}"/>
                </a:ext>
              </a:extLst>
            </p:cNvPr>
            <p:cNvSpPr/>
            <p:nvPr/>
          </p:nvSpPr>
          <p:spPr>
            <a:xfrm>
              <a:off x="2407135" y="-1036657"/>
              <a:ext cx="1009744" cy="412987"/>
            </a:xfrm>
            <a:custGeom>
              <a:avLst/>
              <a:gdLst>
                <a:gd name="connsiteX0" fmla="*/ 0 w 1009744"/>
                <a:gd name="connsiteY0" fmla="*/ 156393 h 412987"/>
                <a:gd name="connsiteX1" fmla="*/ 0 w 1009744"/>
                <a:gd name="connsiteY1" fmla="*/ 412695 h 412987"/>
                <a:gd name="connsiteX2" fmla="*/ 450756 w 1009744"/>
                <a:gd name="connsiteY2" fmla="*/ 412695 h 412987"/>
                <a:gd name="connsiteX3" fmla="*/ 541634 w 1009744"/>
                <a:gd name="connsiteY3" fmla="*/ 406121 h 412987"/>
                <a:gd name="connsiteX4" fmla="*/ 712570 w 1009744"/>
                <a:gd name="connsiteY4" fmla="*/ 302593 h 412987"/>
                <a:gd name="connsiteX5" fmla="*/ 1009744 w 1009744"/>
                <a:gd name="connsiteY5" fmla="*/ 0 h 412987"/>
                <a:gd name="connsiteX6" fmla="*/ 559931 w 1009744"/>
                <a:gd name="connsiteY6" fmla="*/ 46 h 412987"/>
                <a:gd name="connsiteX7" fmla="*/ 250073 w 1009744"/>
                <a:gd name="connsiteY7" fmla="*/ 314892 h 412987"/>
                <a:gd name="connsiteX8" fmla="*/ 205846 w 1009744"/>
                <a:gd name="connsiteY8" fmla="*/ 337545 h 412987"/>
                <a:gd name="connsiteX9" fmla="*/ 165997 w 1009744"/>
                <a:gd name="connsiteY9" fmla="*/ 323963 h 412987"/>
                <a:gd name="connsiteX10" fmla="*/ 0 w 1009744"/>
                <a:gd name="connsiteY10" fmla="*/ 156393 h 41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9744" h="412987">
                  <a:moveTo>
                    <a:pt x="0" y="156393"/>
                  </a:moveTo>
                  <a:lnTo>
                    <a:pt x="0" y="412695"/>
                  </a:lnTo>
                  <a:lnTo>
                    <a:pt x="450756" y="412695"/>
                  </a:lnTo>
                  <a:cubicBezTo>
                    <a:pt x="450756" y="412695"/>
                    <a:pt x="501875" y="415100"/>
                    <a:pt x="541634" y="406121"/>
                  </a:cubicBezTo>
                  <a:cubicBezTo>
                    <a:pt x="614687" y="389630"/>
                    <a:pt x="658196" y="358067"/>
                    <a:pt x="712570" y="302593"/>
                  </a:cubicBezTo>
                  <a:cubicBezTo>
                    <a:pt x="804302" y="208959"/>
                    <a:pt x="1009744" y="0"/>
                    <a:pt x="1009744" y="0"/>
                  </a:cubicBezTo>
                  <a:lnTo>
                    <a:pt x="559931" y="46"/>
                  </a:lnTo>
                  <a:lnTo>
                    <a:pt x="250073" y="314892"/>
                  </a:lnTo>
                  <a:cubicBezTo>
                    <a:pt x="250073" y="314892"/>
                    <a:pt x="231439" y="337820"/>
                    <a:pt x="205846" y="337545"/>
                  </a:cubicBezTo>
                  <a:cubicBezTo>
                    <a:pt x="178053" y="337224"/>
                    <a:pt x="165997" y="323963"/>
                    <a:pt x="165997" y="323963"/>
                  </a:cubicBezTo>
                  <a:lnTo>
                    <a:pt x="0" y="156393"/>
                  </a:lnTo>
                  <a:close/>
                </a:path>
              </a:pathLst>
            </a:custGeom>
            <a:solidFill>
              <a:srgbClr val="FFFFFF">
                <a:alpha val="25000"/>
              </a:srgbClr>
            </a:solidFill>
            <a:ln w="22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14" name="Graphic 1">
              <a:extLst>
                <a:ext uri="{FF2B5EF4-FFF2-40B4-BE49-F238E27FC236}">
                  <a16:creationId xmlns:a16="http://schemas.microsoft.com/office/drawing/2014/main" id="{ED90A2B0-F1E6-BADD-C3BB-3865C5BAC77C}"/>
                </a:ext>
              </a:extLst>
            </p:cNvPr>
            <p:cNvGrpSpPr/>
            <p:nvPr/>
          </p:nvGrpSpPr>
          <p:grpSpPr>
            <a:xfrm>
              <a:off x="2502616" y="-933884"/>
              <a:ext cx="1130526" cy="206622"/>
              <a:chOff x="2502616" y="-933884"/>
              <a:chExt cx="1130526" cy="206622"/>
            </a:xfrm>
            <a:solidFill>
              <a:srgbClr val="FFFFFF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F889CE56-DD16-C13F-93D8-643D13859136}"/>
                  </a:ext>
                </a:extLst>
              </p:cNvPr>
              <p:cNvSpPr/>
              <p:nvPr/>
            </p:nvSpPr>
            <p:spPr>
              <a:xfrm>
                <a:off x="2502616" y="-929578"/>
                <a:ext cx="221224" cy="198147"/>
              </a:xfrm>
              <a:custGeom>
                <a:avLst/>
                <a:gdLst>
                  <a:gd name="connsiteX0" fmla="*/ 93011 w 221224"/>
                  <a:gd name="connsiteY0" fmla="*/ 198148 h 198147"/>
                  <a:gd name="connsiteX1" fmla="*/ 0 w 221224"/>
                  <a:gd name="connsiteY1" fmla="*/ 0 h 198147"/>
                  <a:gd name="connsiteX2" fmla="*/ 41915 w 221224"/>
                  <a:gd name="connsiteY2" fmla="*/ 0 h 198147"/>
                  <a:gd name="connsiteX3" fmla="*/ 110006 w 221224"/>
                  <a:gd name="connsiteY3" fmla="*/ 149017 h 198147"/>
                  <a:gd name="connsiteX4" fmla="*/ 110814 w 221224"/>
                  <a:gd name="connsiteY4" fmla="*/ 149017 h 198147"/>
                  <a:gd name="connsiteX5" fmla="*/ 178906 w 221224"/>
                  <a:gd name="connsiteY5" fmla="*/ 0 h 198147"/>
                  <a:gd name="connsiteX6" fmla="*/ 221225 w 221224"/>
                  <a:gd name="connsiteY6" fmla="*/ 0 h 198147"/>
                  <a:gd name="connsiteX7" fmla="*/ 128213 w 221224"/>
                  <a:gd name="connsiteY7" fmla="*/ 198148 h 198147"/>
                  <a:gd name="connsiteX8" fmla="*/ 92966 w 221224"/>
                  <a:gd name="connsiteY8" fmla="*/ 198148 h 198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224" h="198147">
                    <a:moveTo>
                      <a:pt x="93011" y="198148"/>
                    </a:moveTo>
                    <a:lnTo>
                      <a:pt x="0" y="0"/>
                    </a:lnTo>
                    <a:lnTo>
                      <a:pt x="41915" y="0"/>
                    </a:lnTo>
                    <a:cubicBezTo>
                      <a:pt x="41915" y="0"/>
                      <a:pt x="108390" y="141848"/>
                      <a:pt x="110006" y="149017"/>
                    </a:cubicBezTo>
                    <a:lnTo>
                      <a:pt x="110814" y="149017"/>
                    </a:lnTo>
                    <a:cubicBezTo>
                      <a:pt x="112476" y="141825"/>
                      <a:pt x="178906" y="0"/>
                      <a:pt x="178906" y="0"/>
                    </a:cubicBezTo>
                    <a:lnTo>
                      <a:pt x="221225" y="0"/>
                    </a:lnTo>
                    <a:lnTo>
                      <a:pt x="128213" y="198148"/>
                    </a:lnTo>
                    <a:lnTo>
                      <a:pt x="92966" y="198148"/>
                    </a:ln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426BADAA-5F44-5950-8D75-9475A9AC849E}"/>
                  </a:ext>
                </a:extLst>
              </p:cNvPr>
              <p:cNvSpPr/>
              <p:nvPr/>
            </p:nvSpPr>
            <p:spPr>
              <a:xfrm>
                <a:off x="2713962" y="-933884"/>
                <a:ext cx="190894" cy="206599"/>
              </a:xfrm>
              <a:custGeom>
                <a:avLst/>
                <a:gdLst>
                  <a:gd name="connsiteX0" fmla="*/ 190041 w 190894"/>
                  <a:gd name="connsiteY0" fmla="*/ 118577 h 206599"/>
                  <a:gd name="connsiteX1" fmla="*/ 39423 w 190894"/>
                  <a:gd name="connsiteY1" fmla="*/ 118577 h 206599"/>
                  <a:gd name="connsiteX2" fmla="*/ 97950 w 190894"/>
                  <a:gd name="connsiteY2" fmla="*/ 171051 h 206599"/>
                  <a:gd name="connsiteX3" fmla="*/ 146914 w 190894"/>
                  <a:gd name="connsiteY3" fmla="*/ 143108 h 206599"/>
                  <a:gd name="connsiteX4" fmla="*/ 185910 w 190894"/>
                  <a:gd name="connsiteY4" fmla="*/ 143108 h 206599"/>
                  <a:gd name="connsiteX5" fmla="*/ 97928 w 190894"/>
                  <a:gd name="connsiteY5" fmla="*/ 206599 h 206599"/>
                  <a:gd name="connsiteX6" fmla="*/ 0 w 190894"/>
                  <a:gd name="connsiteY6" fmla="*/ 103300 h 206599"/>
                  <a:gd name="connsiteX7" fmla="*/ 97928 w 190894"/>
                  <a:gd name="connsiteY7" fmla="*/ 0 h 206599"/>
                  <a:gd name="connsiteX8" fmla="*/ 190894 w 190894"/>
                  <a:gd name="connsiteY8" fmla="*/ 103300 h 206599"/>
                  <a:gd name="connsiteX9" fmla="*/ 190086 w 190894"/>
                  <a:gd name="connsiteY9" fmla="*/ 118577 h 206599"/>
                  <a:gd name="connsiteX10" fmla="*/ 39827 w 190894"/>
                  <a:gd name="connsiteY10" fmla="*/ 86396 h 206599"/>
                  <a:gd name="connsiteX11" fmla="*/ 151472 w 190894"/>
                  <a:gd name="connsiteY11" fmla="*/ 86396 h 206599"/>
                  <a:gd name="connsiteX12" fmla="*/ 97950 w 190894"/>
                  <a:gd name="connsiteY12" fmla="*/ 35617 h 206599"/>
                  <a:gd name="connsiteX13" fmla="*/ 39827 w 190894"/>
                  <a:gd name="connsiteY13" fmla="*/ 86396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894" h="206599">
                    <a:moveTo>
                      <a:pt x="190041" y="118577"/>
                    </a:moveTo>
                    <a:lnTo>
                      <a:pt x="39423" y="118577"/>
                    </a:lnTo>
                    <a:cubicBezTo>
                      <a:pt x="44833" y="150758"/>
                      <a:pt x="68024" y="171051"/>
                      <a:pt x="97950" y="171051"/>
                    </a:cubicBezTo>
                    <a:cubicBezTo>
                      <a:pt x="122444" y="171051"/>
                      <a:pt x="138608" y="161294"/>
                      <a:pt x="146914" y="143108"/>
                    </a:cubicBezTo>
                    <a:lnTo>
                      <a:pt x="185910" y="143108"/>
                    </a:lnTo>
                    <a:cubicBezTo>
                      <a:pt x="174259" y="180763"/>
                      <a:pt x="140696" y="206599"/>
                      <a:pt x="97928" y="206599"/>
                    </a:cubicBezTo>
                    <a:cubicBezTo>
                      <a:pt x="41488" y="206599"/>
                      <a:pt x="0" y="164707"/>
                      <a:pt x="0" y="103300"/>
                    </a:cubicBezTo>
                    <a:cubicBezTo>
                      <a:pt x="0" y="41892"/>
                      <a:pt x="40657" y="0"/>
                      <a:pt x="97928" y="0"/>
                    </a:cubicBezTo>
                    <a:cubicBezTo>
                      <a:pt x="148957" y="0"/>
                      <a:pt x="190894" y="44481"/>
                      <a:pt x="190894" y="103300"/>
                    </a:cubicBezTo>
                    <a:cubicBezTo>
                      <a:pt x="190894" y="109232"/>
                      <a:pt x="190894" y="112645"/>
                      <a:pt x="190086" y="118577"/>
                    </a:cubicBezTo>
                    <a:close/>
                    <a:moveTo>
                      <a:pt x="39827" y="86396"/>
                    </a:moveTo>
                    <a:lnTo>
                      <a:pt x="151472" y="86396"/>
                    </a:lnTo>
                    <a:cubicBezTo>
                      <a:pt x="148980" y="59277"/>
                      <a:pt x="127428" y="35617"/>
                      <a:pt x="97950" y="35617"/>
                    </a:cubicBezTo>
                    <a:cubicBezTo>
                      <a:pt x="68024" y="35571"/>
                      <a:pt x="45596" y="55498"/>
                      <a:pt x="39827" y="863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919F8AD2-48A8-35A5-A3D4-A95BED068140}"/>
                  </a:ext>
                </a:extLst>
              </p:cNvPr>
              <p:cNvSpPr/>
              <p:nvPr/>
            </p:nvSpPr>
            <p:spPr>
              <a:xfrm>
                <a:off x="2920572" y="-933884"/>
                <a:ext cx="190894" cy="206599"/>
              </a:xfrm>
              <a:custGeom>
                <a:avLst/>
                <a:gdLst>
                  <a:gd name="connsiteX0" fmla="*/ 190041 w 190894"/>
                  <a:gd name="connsiteY0" fmla="*/ 118577 h 206599"/>
                  <a:gd name="connsiteX1" fmla="*/ 39423 w 190894"/>
                  <a:gd name="connsiteY1" fmla="*/ 118577 h 206599"/>
                  <a:gd name="connsiteX2" fmla="*/ 97950 w 190894"/>
                  <a:gd name="connsiteY2" fmla="*/ 171051 h 206599"/>
                  <a:gd name="connsiteX3" fmla="*/ 146914 w 190894"/>
                  <a:gd name="connsiteY3" fmla="*/ 143108 h 206599"/>
                  <a:gd name="connsiteX4" fmla="*/ 185910 w 190894"/>
                  <a:gd name="connsiteY4" fmla="*/ 143108 h 206599"/>
                  <a:gd name="connsiteX5" fmla="*/ 97928 w 190894"/>
                  <a:gd name="connsiteY5" fmla="*/ 206599 h 206599"/>
                  <a:gd name="connsiteX6" fmla="*/ 0 w 190894"/>
                  <a:gd name="connsiteY6" fmla="*/ 103300 h 206599"/>
                  <a:gd name="connsiteX7" fmla="*/ 97928 w 190894"/>
                  <a:gd name="connsiteY7" fmla="*/ 0 h 206599"/>
                  <a:gd name="connsiteX8" fmla="*/ 190894 w 190894"/>
                  <a:gd name="connsiteY8" fmla="*/ 103300 h 206599"/>
                  <a:gd name="connsiteX9" fmla="*/ 190086 w 190894"/>
                  <a:gd name="connsiteY9" fmla="*/ 118577 h 206599"/>
                  <a:gd name="connsiteX10" fmla="*/ 39827 w 190894"/>
                  <a:gd name="connsiteY10" fmla="*/ 86396 h 206599"/>
                  <a:gd name="connsiteX11" fmla="*/ 151472 w 190894"/>
                  <a:gd name="connsiteY11" fmla="*/ 86396 h 206599"/>
                  <a:gd name="connsiteX12" fmla="*/ 97950 w 190894"/>
                  <a:gd name="connsiteY12" fmla="*/ 35617 h 206599"/>
                  <a:gd name="connsiteX13" fmla="*/ 39827 w 190894"/>
                  <a:gd name="connsiteY13" fmla="*/ 86396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894" h="206599">
                    <a:moveTo>
                      <a:pt x="190041" y="118577"/>
                    </a:moveTo>
                    <a:lnTo>
                      <a:pt x="39423" y="118577"/>
                    </a:lnTo>
                    <a:cubicBezTo>
                      <a:pt x="44833" y="150758"/>
                      <a:pt x="68024" y="171051"/>
                      <a:pt x="97950" y="171051"/>
                    </a:cubicBezTo>
                    <a:cubicBezTo>
                      <a:pt x="122444" y="171051"/>
                      <a:pt x="138608" y="161294"/>
                      <a:pt x="146914" y="143108"/>
                    </a:cubicBezTo>
                    <a:lnTo>
                      <a:pt x="185910" y="143108"/>
                    </a:lnTo>
                    <a:cubicBezTo>
                      <a:pt x="174259" y="180763"/>
                      <a:pt x="140696" y="206599"/>
                      <a:pt x="97928" y="206599"/>
                    </a:cubicBezTo>
                    <a:cubicBezTo>
                      <a:pt x="41488" y="206599"/>
                      <a:pt x="0" y="164707"/>
                      <a:pt x="0" y="103300"/>
                    </a:cubicBezTo>
                    <a:cubicBezTo>
                      <a:pt x="0" y="41892"/>
                      <a:pt x="40657" y="0"/>
                      <a:pt x="97928" y="0"/>
                    </a:cubicBezTo>
                    <a:cubicBezTo>
                      <a:pt x="148957" y="0"/>
                      <a:pt x="190894" y="44481"/>
                      <a:pt x="190894" y="103300"/>
                    </a:cubicBezTo>
                    <a:cubicBezTo>
                      <a:pt x="190894" y="109232"/>
                      <a:pt x="190894" y="112645"/>
                      <a:pt x="190086" y="118577"/>
                    </a:cubicBezTo>
                    <a:close/>
                    <a:moveTo>
                      <a:pt x="39827" y="86396"/>
                    </a:moveTo>
                    <a:lnTo>
                      <a:pt x="151472" y="86396"/>
                    </a:lnTo>
                    <a:cubicBezTo>
                      <a:pt x="148980" y="59277"/>
                      <a:pt x="127428" y="35617"/>
                      <a:pt x="97950" y="35617"/>
                    </a:cubicBezTo>
                    <a:cubicBezTo>
                      <a:pt x="68024" y="35571"/>
                      <a:pt x="45641" y="55498"/>
                      <a:pt x="39827" y="863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77C841EC-2A26-7AA4-D08A-4EBEA9B64ED6}"/>
                  </a:ext>
                </a:extLst>
              </p:cNvPr>
              <p:cNvSpPr/>
              <p:nvPr/>
            </p:nvSpPr>
            <p:spPr>
              <a:xfrm>
                <a:off x="3126777" y="-933861"/>
                <a:ext cx="195070" cy="206599"/>
              </a:xfrm>
              <a:custGeom>
                <a:avLst/>
                <a:gdLst>
                  <a:gd name="connsiteX0" fmla="*/ 195070 w 195070"/>
                  <a:gd name="connsiteY0" fmla="*/ 103300 h 206599"/>
                  <a:gd name="connsiteX1" fmla="*/ 195070 w 195070"/>
                  <a:gd name="connsiteY1" fmla="*/ 202362 h 206599"/>
                  <a:gd name="connsiteX2" fmla="*/ 161462 w 195070"/>
                  <a:gd name="connsiteY2" fmla="*/ 202362 h 206599"/>
                  <a:gd name="connsiteX3" fmla="*/ 158117 w 195070"/>
                  <a:gd name="connsiteY3" fmla="*/ 171464 h 206599"/>
                  <a:gd name="connsiteX4" fmla="*/ 93371 w 195070"/>
                  <a:gd name="connsiteY4" fmla="*/ 206599 h 206599"/>
                  <a:gd name="connsiteX5" fmla="*/ 0 w 195070"/>
                  <a:gd name="connsiteY5" fmla="*/ 103300 h 206599"/>
                  <a:gd name="connsiteX6" fmla="*/ 98332 w 195070"/>
                  <a:gd name="connsiteY6" fmla="*/ 0 h 206599"/>
                  <a:gd name="connsiteX7" fmla="*/ 195070 w 195070"/>
                  <a:gd name="connsiteY7" fmla="*/ 103300 h 206599"/>
                  <a:gd name="connsiteX8" fmla="*/ 156860 w 195070"/>
                  <a:gd name="connsiteY8" fmla="*/ 103300 h 206599"/>
                  <a:gd name="connsiteX9" fmla="*/ 98332 w 195070"/>
                  <a:gd name="connsiteY9" fmla="*/ 35571 h 206599"/>
                  <a:gd name="connsiteX10" fmla="*/ 38188 w 195070"/>
                  <a:gd name="connsiteY10" fmla="*/ 103300 h 206599"/>
                  <a:gd name="connsiteX11" fmla="*/ 98332 w 195070"/>
                  <a:gd name="connsiteY11" fmla="*/ 171029 h 206599"/>
                  <a:gd name="connsiteX12" fmla="*/ 156860 w 195070"/>
                  <a:gd name="connsiteY12" fmla="*/ 103300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5070" h="206599">
                    <a:moveTo>
                      <a:pt x="195070" y="103300"/>
                    </a:moveTo>
                    <a:lnTo>
                      <a:pt x="195070" y="202362"/>
                    </a:lnTo>
                    <a:lnTo>
                      <a:pt x="161462" y="202362"/>
                    </a:lnTo>
                    <a:lnTo>
                      <a:pt x="158117" y="171464"/>
                    </a:lnTo>
                    <a:cubicBezTo>
                      <a:pt x="143188" y="194345"/>
                      <a:pt x="117056" y="206599"/>
                      <a:pt x="93371" y="206599"/>
                    </a:cubicBezTo>
                    <a:cubicBezTo>
                      <a:pt x="40253" y="206599"/>
                      <a:pt x="0" y="163424"/>
                      <a:pt x="0" y="103300"/>
                    </a:cubicBezTo>
                    <a:cubicBezTo>
                      <a:pt x="0" y="43175"/>
                      <a:pt x="43149" y="0"/>
                      <a:pt x="98332" y="0"/>
                    </a:cubicBezTo>
                    <a:cubicBezTo>
                      <a:pt x="149002" y="0"/>
                      <a:pt x="195070" y="37243"/>
                      <a:pt x="195070" y="103300"/>
                    </a:cubicBezTo>
                    <a:close/>
                    <a:moveTo>
                      <a:pt x="156860" y="103300"/>
                    </a:moveTo>
                    <a:cubicBezTo>
                      <a:pt x="156860" y="59712"/>
                      <a:pt x="128662" y="35571"/>
                      <a:pt x="98332" y="35571"/>
                    </a:cubicBezTo>
                    <a:cubicBezTo>
                      <a:pt x="65128" y="35571"/>
                      <a:pt x="38188" y="62690"/>
                      <a:pt x="38188" y="103300"/>
                    </a:cubicBezTo>
                    <a:cubicBezTo>
                      <a:pt x="38188" y="143910"/>
                      <a:pt x="63108" y="171029"/>
                      <a:pt x="98332" y="171029"/>
                    </a:cubicBezTo>
                    <a:cubicBezTo>
                      <a:pt x="128258" y="171029"/>
                      <a:pt x="156860" y="145604"/>
                      <a:pt x="156860" y="1033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133028CB-4008-420B-75A0-D19927415E4F}"/>
                  </a:ext>
                </a:extLst>
              </p:cNvPr>
              <p:cNvSpPr/>
              <p:nvPr/>
            </p:nvSpPr>
            <p:spPr>
              <a:xfrm>
                <a:off x="3347575" y="-933792"/>
                <a:ext cx="285566" cy="202728"/>
              </a:xfrm>
              <a:custGeom>
                <a:avLst/>
                <a:gdLst>
                  <a:gd name="connsiteX0" fmla="*/ 0 w 285566"/>
                  <a:gd name="connsiteY0" fmla="*/ 202316 h 202728"/>
                  <a:gd name="connsiteX1" fmla="*/ 0 w 285566"/>
                  <a:gd name="connsiteY1" fmla="*/ 85068 h 202728"/>
                  <a:gd name="connsiteX2" fmla="*/ 79698 w 285566"/>
                  <a:gd name="connsiteY2" fmla="*/ 0 h 202728"/>
                  <a:gd name="connsiteX3" fmla="*/ 142379 w 285566"/>
                  <a:gd name="connsiteY3" fmla="*/ 36006 h 202728"/>
                  <a:gd name="connsiteX4" fmla="*/ 143188 w 285566"/>
                  <a:gd name="connsiteY4" fmla="*/ 36006 h 202728"/>
                  <a:gd name="connsiteX5" fmla="*/ 205869 w 285566"/>
                  <a:gd name="connsiteY5" fmla="*/ 0 h 202728"/>
                  <a:gd name="connsiteX6" fmla="*/ 285567 w 285566"/>
                  <a:gd name="connsiteY6" fmla="*/ 85068 h 202728"/>
                  <a:gd name="connsiteX7" fmla="*/ 285567 w 285566"/>
                  <a:gd name="connsiteY7" fmla="*/ 202316 h 202728"/>
                  <a:gd name="connsiteX8" fmla="*/ 247402 w 285566"/>
                  <a:gd name="connsiteY8" fmla="*/ 202316 h 202728"/>
                  <a:gd name="connsiteX9" fmla="*/ 247402 w 285566"/>
                  <a:gd name="connsiteY9" fmla="*/ 87999 h 202728"/>
                  <a:gd name="connsiteX10" fmla="*/ 204679 w 285566"/>
                  <a:gd name="connsiteY10" fmla="*/ 36350 h 202728"/>
                  <a:gd name="connsiteX11" fmla="*/ 161956 w 285566"/>
                  <a:gd name="connsiteY11" fmla="*/ 88824 h 202728"/>
                  <a:gd name="connsiteX12" fmla="*/ 161956 w 285566"/>
                  <a:gd name="connsiteY12" fmla="*/ 202729 h 202728"/>
                  <a:gd name="connsiteX13" fmla="*/ 123791 w 285566"/>
                  <a:gd name="connsiteY13" fmla="*/ 202729 h 202728"/>
                  <a:gd name="connsiteX14" fmla="*/ 123791 w 285566"/>
                  <a:gd name="connsiteY14" fmla="*/ 88824 h 202728"/>
                  <a:gd name="connsiteX15" fmla="*/ 81068 w 285566"/>
                  <a:gd name="connsiteY15" fmla="*/ 36350 h 202728"/>
                  <a:gd name="connsiteX16" fmla="*/ 38345 w 285566"/>
                  <a:gd name="connsiteY16" fmla="*/ 87999 h 202728"/>
                  <a:gd name="connsiteX17" fmla="*/ 38345 w 285566"/>
                  <a:gd name="connsiteY17" fmla="*/ 202316 h 202728"/>
                  <a:gd name="connsiteX18" fmla="*/ 90 w 285566"/>
                  <a:gd name="connsiteY18" fmla="*/ 202316 h 202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566" h="202728">
                    <a:moveTo>
                      <a:pt x="0" y="202316"/>
                    </a:moveTo>
                    <a:lnTo>
                      <a:pt x="0" y="85068"/>
                    </a:lnTo>
                    <a:cubicBezTo>
                      <a:pt x="0" y="35525"/>
                      <a:pt x="31138" y="0"/>
                      <a:pt x="79698" y="0"/>
                    </a:cubicBezTo>
                    <a:cubicBezTo>
                      <a:pt x="118694" y="0"/>
                      <a:pt x="139438" y="26661"/>
                      <a:pt x="142379" y="36006"/>
                    </a:cubicBezTo>
                    <a:lnTo>
                      <a:pt x="143188" y="36006"/>
                    </a:lnTo>
                    <a:cubicBezTo>
                      <a:pt x="146084" y="26707"/>
                      <a:pt x="166828" y="0"/>
                      <a:pt x="205869" y="0"/>
                    </a:cubicBezTo>
                    <a:cubicBezTo>
                      <a:pt x="254428" y="0"/>
                      <a:pt x="285567" y="35548"/>
                      <a:pt x="285567" y="85068"/>
                    </a:cubicBezTo>
                    <a:lnTo>
                      <a:pt x="285567" y="202316"/>
                    </a:lnTo>
                    <a:lnTo>
                      <a:pt x="247402" y="202316"/>
                    </a:lnTo>
                    <a:lnTo>
                      <a:pt x="247402" y="87999"/>
                    </a:lnTo>
                    <a:cubicBezTo>
                      <a:pt x="247402" y="55818"/>
                      <a:pt x="233280" y="36350"/>
                      <a:pt x="204679" y="36350"/>
                    </a:cubicBezTo>
                    <a:cubicBezTo>
                      <a:pt x="176077" y="36350"/>
                      <a:pt x="161956" y="55818"/>
                      <a:pt x="161956" y="88824"/>
                    </a:cubicBezTo>
                    <a:lnTo>
                      <a:pt x="161956" y="202729"/>
                    </a:lnTo>
                    <a:lnTo>
                      <a:pt x="123791" y="202729"/>
                    </a:lnTo>
                    <a:lnTo>
                      <a:pt x="123791" y="88824"/>
                    </a:lnTo>
                    <a:cubicBezTo>
                      <a:pt x="123791" y="55818"/>
                      <a:pt x="109669" y="36350"/>
                      <a:pt x="81068" y="36350"/>
                    </a:cubicBezTo>
                    <a:cubicBezTo>
                      <a:pt x="52466" y="36350"/>
                      <a:pt x="38345" y="55818"/>
                      <a:pt x="38345" y="87999"/>
                    </a:cubicBezTo>
                    <a:lnTo>
                      <a:pt x="38345" y="202316"/>
                    </a:lnTo>
                    <a:lnTo>
                      <a:pt x="90" y="202316"/>
                    </a:ln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5642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 Left Stack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Footer Placeholder 66">
            <a:extLst>
              <a:ext uri="{FF2B5EF4-FFF2-40B4-BE49-F238E27FC236}">
                <a16:creationId xmlns:a16="http://schemas.microsoft.com/office/drawing/2014/main" id="{5A937196-A9E2-700D-0EF2-E8B6E1F366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FBCBD4-DA05-4F0F-6763-A747F0C03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57F8780-D8D3-B2FE-FCC9-87A2007A93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accent2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9F0DE43A-B43F-04DF-5809-BD4DF20EF55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6"/>
            <a:ext cx="7391400" cy="377190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EF926072-FA82-9BDD-9A63-4F6798DC9F6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15631" y="4797425"/>
            <a:ext cx="7391400" cy="1377949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8A2565B-B998-5BF9-DC86-72456ED8ED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AF60B4-CC56-BD9A-1302-702EEC8C61AB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29618522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 Left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56B29AAB-9836-4222-2373-744FDA40340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05300" y="682625"/>
            <a:ext cx="2263775" cy="5486399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A4DE8E80-1063-4890-3D52-F10E95DE840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52895" y="690564"/>
            <a:ext cx="4954135" cy="5486398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2301F5-B69E-0D3C-D5CC-BB2804BD19A5}"/>
              </a:ext>
            </a:extLst>
          </p:cNvPr>
          <p:cNvSpPr/>
          <p:nvPr/>
        </p:nvSpPr>
        <p:spPr>
          <a:xfrm>
            <a:off x="0" y="0"/>
            <a:ext cx="367937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6D7EDEC-72BB-0FBE-E163-12DA39051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719263"/>
            <a:ext cx="2859087" cy="2134979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2F6A416-87B9-D95B-4D6C-EC86BD6B6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2" y="3997587"/>
            <a:ext cx="2859086" cy="628841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accent2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0D705D89-7F64-DEBF-AD72-C0380014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5300" y="6405456"/>
            <a:ext cx="6438900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DD8AC79-0A9C-4390-C9DE-85891A71D5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F24600-DD81-1C90-6E3F-FD1DE119855D}"/>
              </a:ext>
            </a:extLst>
          </p:cNvPr>
          <p:cNvSpPr txBox="1"/>
          <p:nvPr userDrawn="1"/>
        </p:nvSpPr>
        <p:spPr>
          <a:xfrm>
            <a:off x="4301339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605566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005AEFFA-08BB-E35F-660C-22FD398AD7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86E2E2E-C03C-BAE4-D818-84982363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Footer Placeholder 66">
            <a:extLst>
              <a:ext uri="{FF2B5EF4-FFF2-40B4-BE49-F238E27FC236}">
                <a16:creationId xmlns:a16="http://schemas.microsoft.com/office/drawing/2014/main" id="{897E5D5F-07B8-45D8-5BF7-ABED590AC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017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ed Light BG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3934089E-3F37-432B-5F96-E3C7EE3558D0}"/>
              </a:ext>
            </a:extLst>
          </p:cNvPr>
          <p:cNvSpPr/>
          <p:nvPr userDrawn="1"/>
        </p:nvSpPr>
        <p:spPr>
          <a:xfrm>
            <a:off x="0" y="73038"/>
            <a:ext cx="12180888" cy="6780200"/>
          </a:xfrm>
          <a:custGeom>
            <a:avLst/>
            <a:gdLst>
              <a:gd name="connsiteX0" fmla="*/ 12180888 w 12180888"/>
              <a:gd name="connsiteY0" fmla="*/ 0 h 6780200"/>
              <a:gd name="connsiteX1" fmla="*/ 12180888 w 12180888"/>
              <a:gd name="connsiteY1" fmla="*/ 6780200 h 6780200"/>
              <a:gd name="connsiteX2" fmla="*/ 0 w 12180888"/>
              <a:gd name="connsiteY2" fmla="*/ 6780200 h 6780200"/>
              <a:gd name="connsiteX3" fmla="*/ 0 w 12180888"/>
              <a:gd name="connsiteY3" fmla="*/ 913172 h 6780200"/>
              <a:gd name="connsiteX4" fmla="*/ 4896612 w 12180888"/>
              <a:gd name="connsiteY4" fmla="*/ 5800623 h 6780200"/>
              <a:gd name="connsiteX5" fmla="*/ 6368038 w 12180888"/>
              <a:gd name="connsiteY5" fmla="*/ 5801957 h 678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0888" h="6780200">
                <a:moveTo>
                  <a:pt x="12180888" y="0"/>
                </a:moveTo>
                <a:lnTo>
                  <a:pt x="12180888" y="6780200"/>
                </a:lnTo>
                <a:lnTo>
                  <a:pt x="0" y="6780200"/>
                </a:lnTo>
                <a:lnTo>
                  <a:pt x="0" y="913172"/>
                </a:lnTo>
                <a:lnTo>
                  <a:pt x="4896612" y="5800623"/>
                </a:lnTo>
                <a:cubicBezTo>
                  <a:pt x="5301953" y="6205964"/>
                  <a:pt x="5961172" y="6208822"/>
                  <a:pt x="6368038" y="5801957"/>
                </a:cubicBez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8188C5-E269-6440-3BAF-60AEC0EAC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480EAA3-4A10-6A44-58FD-5AD16C4E8E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60104A99-EBAE-0AF7-F817-DFD9D9CD5A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7AA303B-0A0D-3603-3CA8-7CEEFD2914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5F6748E9-1AFB-5E11-0462-5E4B1ADA7D3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11203413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75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s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5802B3E-289D-CCB0-BB8B-D925127F9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88" y="2397125"/>
            <a:ext cx="2861099" cy="1471461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C3108B2-8239-05B8-EDEE-89015A2070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3" y="3997587"/>
            <a:ext cx="2860675" cy="628841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C37F5F0E-9CD6-659E-AF61-24CDC2660E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154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6">
            <a:extLst>
              <a:ext uri="{FF2B5EF4-FFF2-40B4-BE49-F238E27FC236}">
                <a16:creationId xmlns:a16="http://schemas.microsoft.com/office/drawing/2014/main" id="{64591DC0-9950-9377-9402-A5524E298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5498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5DB76-3583-76FE-C21C-C259AAE77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06131"/>
            <a:ext cx="11202987" cy="165100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Font typeface="Calibri" panose="020F0502020204030204" pitchFamily="34" charset="0"/>
              <a:buChar char="​"/>
              <a:tabLst/>
              <a:defRPr lang="en-US" sz="1200" b="0" i="0" kern="1200" cap="all" baseline="0" dirty="0">
                <a:solidFill>
                  <a:schemeClr val="accent2"/>
                </a:solidFill>
                <a:latin typeface="+mn-lt"/>
                <a:ea typeface="ES Build" pitchFamily="2" charset="77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483895-7F93-D609-F151-0BDE90B0F0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97578E6-6029-1118-F8FB-B0AD6C1DEB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9800" y="687509"/>
            <a:ext cx="1313600" cy="1023815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en-US" dirty="0"/>
              <a:t>Place logo her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920AA78-CB6C-6F4F-DA6D-4B8F340EF867}"/>
              </a:ext>
            </a:extLst>
          </p:cNvPr>
          <p:cNvCxnSpPr>
            <a:cxnSpLocks/>
          </p:cNvCxnSpPr>
          <p:nvPr userDrawn="1"/>
        </p:nvCxnSpPr>
        <p:spPr>
          <a:xfrm>
            <a:off x="2058805" y="687510"/>
            <a:ext cx="0" cy="1023815"/>
          </a:xfrm>
          <a:prstGeom prst="line">
            <a:avLst/>
          </a:prstGeom>
          <a:noFill/>
          <a:ln w="12700" cap="rnd" cmpd="sng" algn="ctr">
            <a:solidFill>
              <a:srgbClr val="E7E6E6"/>
            </a:solidFill>
            <a:prstDash val="solid"/>
            <a:round/>
            <a:headEnd type="none" w="med" len="sm"/>
            <a:tailEnd type="none" w="sm" len="sm"/>
          </a:ln>
          <a:effectLst/>
        </p:spPr>
      </p:cxn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08F1375A-46CF-A757-66AB-FDEDFE1337B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478841" y="682626"/>
            <a:ext cx="3217859" cy="3418543"/>
          </a:xfrm>
          <a:custGeom>
            <a:avLst/>
            <a:gdLst>
              <a:gd name="connsiteX0" fmla="*/ 0 w 3242129"/>
              <a:gd name="connsiteY0" fmla="*/ 0 h 3444327"/>
              <a:gd name="connsiteX1" fmla="*/ 89749 w 3242129"/>
              <a:gd name="connsiteY1" fmla="*/ 0 h 3444327"/>
              <a:gd name="connsiteX2" fmla="*/ 708910 w 3242129"/>
              <a:gd name="connsiteY2" fmla="*/ 0 h 3444327"/>
              <a:gd name="connsiteX3" fmla="*/ 2888023 w 3242129"/>
              <a:gd name="connsiteY3" fmla="*/ 0 h 3444327"/>
              <a:gd name="connsiteX4" fmla="*/ 3016536 w 3242129"/>
              <a:gd name="connsiteY4" fmla="*/ 53430 h 3444327"/>
              <a:gd name="connsiteX5" fmla="*/ 3188699 w 3242129"/>
              <a:gd name="connsiteY5" fmla="*/ 225594 h 3444327"/>
              <a:gd name="connsiteX6" fmla="*/ 3242129 w 3242129"/>
              <a:gd name="connsiteY6" fmla="*/ 354106 h 3444327"/>
              <a:gd name="connsiteX7" fmla="*/ 3242129 w 3242129"/>
              <a:gd name="connsiteY7" fmla="*/ 2885928 h 3444327"/>
              <a:gd name="connsiteX8" fmla="*/ 3242129 w 3242129"/>
              <a:gd name="connsiteY8" fmla="*/ 3354577 h 3444327"/>
              <a:gd name="connsiteX9" fmla="*/ 3242129 w 3242129"/>
              <a:gd name="connsiteY9" fmla="*/ 3444327 h 3444327"/>
              <a:gd name="connsiteX10" fmla="*/ 3152380 w 3242129"/>
              <a:gd name="connsiteY10" fmla="*/ 3444327 h 3444327"/>
              <a:gd name="connsiteX11" fmla="*/ 2533219 w 3242129"/>
              <a:gd name="connsiteY11" fmla="*/ 3444327 h 3444327"/>
              <a:gd name="connsiteX12" fmla="*/ 354106 w 3242129"/>
              <a:gd name="connsiteY12" fmla="*/ 3444327 h 3444327"/>
              <a:gd name="connsiteX13" fmla="*/ 225594 w 3242129"/>
              <a:gd name="connsiteY13" fmla="*/ 3390896 h 3444327"/>
              <a:gd name="connsiteX14" fmla="*/ 53430 w 3242129"/>
              <a:gd name="connsiteY14" fmla="*/ 3218732 h 3444327"/>
              <a:gd name="connsiteX15" fmla="*/ 0 w 3242129"/>
              <a:gd name="connsiteY15" fmla="*/ 3090220 h 3444327"/>
              <a:gd name="connsiteX16" fmla="*/ 0 w 3242129"/>
              <a:gd name="connsiteY16" fmla="*/ 558398 h 3444327"/>
              <a:gd name="connsiteX17" fmla="*/ 0 w 3242129"/>
              <a:gd name="connsiteY17" fmla="*/ 89749 h 3444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242129" h="3444327">
                <a:moveTo>
                  <a:pt x="0" y="0"/>
                </a:moveTo>
                <a:lnTo>
                  <a:pt x="89749" y="0"/>
                </a:lnTo>
                <a:lnTo>
                  <a:pt x="708910" y="0"/>
                </a:lnTo>
                <a:lnTo>
                  <a:pt x="2888023" y="0"/>
                </a:lnTo>
                <a:cubicBezTo>
                  <a:pt x="2936216" y="0"/>
                  <a:pt x="2982312" y="19207"/>
                  <a:pt x="3016536" y="53430"/>
                </a:cubicBezTo>
                <a:cubicBezTo>
                  <a:pt x="3078346" y="115242"/>
                  <a:pt x="3126888" y="163783"/>
                  <a:pt x="3188699" y="225594"/>
                </a:cubicBezTo>
                <a:cubicBezTo>
                  <a:pt x="3222922" y="259468"/>
                  <a:pt x="3242129" y="305914"/>
                  <a:pt x="3242129" y="354106"/>
                </a:cubicBezTo>
                <a:lnTo>
                  <a:pt x="3242129" y="2885928"/>
                </a:lnTo>
                <a:lnTo>
                  <a:pt x="3242129" y="3354577"/>
                </a:lnTo>
                <a:lnTo>
                  <a:pt x="3242129" y="3444327"/>
                </a:lnTo>
                <a:lnTo>
                  <a:pt x="3152380" y="3444327"/>
                </a:lnTo>
                <a:lnTo>
                  <a:pt x="2533219" y="3444327"/>
                </a:lnTo>
                <a:lnTo>
                  <a:pt x="354106" y="3444327"/>
                </a:lnTo>
                <a:cubicBezTo>
                  <a:pt x="305914" y="3444327"/>
                  <a:pt x="259817" y="3425120"/>
                  <a:pt x="225594" y="3390896"/>
                </a:cubicBezTo>
                <a:cubicBezTo>
                  <a:pt x="163783" y="3329085"/>
                  <a:pt x="115242" y="3280543"/>
                  <a:pt x="53430" y="3218732"/>
                </a:cubicBezTo>
                <a:cubicBezTo>
                  <a:pt x="19207" y="3184858"/>
                  <a:pt x="0" y="3138412"/>
                  <a:pt x="0" y="3090220"/>
                </a:cubicBezTo>
                <a:lnTo>
                  <a:pt x="0" y="558398"/>
                </a:lnTo>
                <a:lnTo>
                  <a:pt x="0" y="8974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400"/>
            </a:lvl1pPr>
          </a:lstStyle>
          <a:p>
            <a:r>
              <a:rPr lang="en-US" dirty="0"/>
              <a:t>Please use Veeam approved images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6AE8CF52-B763-1B63-535D-583AAAF938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14211" y="808248"/>
            <a:ext cx="5809027" cy="747931"/>
          </a:xfrm>
        </p:spPr>
        <p:txBody>
          <a:bodyPr anchor="ctr"/>
          <a:lstStyle>
            <a:lvl1pPr marL="0" indent="0" algn="l">
              <a:buNone/>
              <a:defRPr kumimoji="0" lang="en-US" sz="2100" b="0" i="0" u="none" strike="noStrike" kern="0" cap="none" spc="0" normalizeH="0" baseline="0" dirty="0">
                <a:ln>
                  <a:noFill/>
                </a:ln>
                <a:solidFill>
                  <a:srgbClr val="8D70F3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case study title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7AA290A0-7732-7405-4696-069B12A00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1492" y="1862713"/>
            <a:ext cx="7771746" cy="2591812"/>
          </a:xfrm>
        </p:spPr>
        <p:txBody>
          <a:bodyPr/>
          <a:lstStyle>
            <a:lvl1pPr marL="146304" indent="-146304">
              <a:spcAft>
                <a:spcPts val="1200"/>
              </a:spcAft>
              <a:buFont typeface="ES Build Neutral" pitchFamily="50" charset="0"/>
              <a:buChar char="“"/>
              <a:defRPr sz="3400">
                <a:latin typeface="ES Build "/>
              </a:defRPr>
            </a:lvl1pPr>
            <a:lvl2pPr marL="344488" indent="-182880">
              <a:buFont typeface="Microsoft Sans Serif" panose="020B0604020202020204" pitchFamily="34" charset="0"/>
              <a:buChar char="—"/>
              <a:defRPr lang="en-US" sz="1600" b="0" i="0" kern="1200" dirty="0">
                <a:solidFill>
                  <a:schemeClr val="accent4"/>
                </a:solidFill>
                <a:latin typeface="+mn-lt"/>
                <a:ea typeface="ES Build" pitchFamily="2" charset="77"/>
                <a:cs typeface="+mn-cs"/>
              </a:defRPr>
            </a:lvl2pPr>
            <a:lvl3pPr marL="344488" indent="-182880">
              <a:defRPr/>
            </a:lvl3pPr>
            <a:lvl4pPr marL="344488" indent="-182880">
              <a:defRPr/>
            </a:lvl4pPr>
            <a:lvl5pPr marL="344488" indent="-18288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AFC5A06-EA2E-CCCE-6E41-52D578F53290}"/>
              </a:ext>
            </a:extLst>
          </p:cNvPr>
          <p:cNvCxnSpPr>
            <a:cxnSpLocks/>
          </p:cNvCxnSpPr>
          <p:nvPr userDrawn="1"/>
        </p:nvCxnSpPr>
        <p:spPr>
          <a:xfrm>
            <a:off x="4305300" y="4637314"/>
            <a:ext cx="0" cy="1529443"/>
          </a:xfrm>
          <a:prstGeom prst="line">
            <a:avLst/>
          </a:prstGeom>
          <a:noFill/>
          <a:ln w="12700" cap="rnd" cmpd="sng" algn="ctr">
            <a:solidFill>
              <a:srgbClr val="E7E6E6"/>
            </a:solidFill>
            <a:prstDash val="solid"/>
            <a:round/>
            <a:headEnd type="none" w="med" len="sm"/>
            <a:tailEnd type="none" w="sm" len="sm"/>
          </a:ln>
          <a:effectLst/>
        </p:spPr>
      </p:cxnSp>
      <p:sp>
        <p:nvSpPr>
          <p:cNvPr id="42" name="Content Placeholder 40">
            <a:extLst>
              <a:ext uri="{FF2B5EF4-FFF2-40B4-BE49-F238E27FC236}">
                <a16:creationId xmlns:a16="http://schemas.microsoft.com/office/drawing/2014/main" id="{FF2532BF-4680-53D7-A2A5-5AE22750B87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6833" y="4553116"/>
            <a:ext cx="3570335" cy="1615909"/>
          </a:xfrm>
        </p:spPr>
        <p:txBody>
          <a:bodyPr/>
          <a:lstStyle>
            <a:lvl1pPr>
              <a:spcAft>
                <a:spcPts val="900"/>
              </a:spcAft>
              <a:defRPr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110000"/>
              </a:lnSpc>
              <a:buFont typeface="Calibri" panose="020F0502020204030204" pitchFamily="34" charset="0"/>
              <a:buChar char="​"/>
              <a:defRPr sz="1600"/>
            </a:lvl2pPr>
            <a:lvl3pPr marL="173736" indent="-173736">
              <a:lnSpc>
                <a:spcPct val="110000"/>
              </a:lnSpc>
              <a:defRPr sz="1200"/>
            </a:lvl3pPr>
            <a:lvl4pPr marL="173736" indent="-173736">
              <a:lnSpc>
                <a:spcPct val="110000"/>
              </a:lnSpc>
              <a:defRPr sz="1200"/>
            </a:lvl4pPr>
            <a:lvl5pPr marL="173736" indent="-173736"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8" name="Content Placeholder 40">
            <a:extLst>
              <a:ext uri="{FF2B5EF4-FFF2-40B4-BE49-F238E27FC236}">
                <a16:creationId xmlns:a16="http://schemas.microsoft.com/office/drawing/2014/main" id="{2092FE40-83A8-3C3F-87F7-C1D5BE8568F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31234" y="4553116"/>
            <a:ext cx="3464940" cy="1615909"/>
          </a:xfrm>
        </p:spPr>
        <p:txBody>
          <a:bodyPr/>
          <a:lstStyle>
            <a:lvl1pPr>
              <a:spcAft>
                <a:spcPts val="900"/>
              </a:spcAft>
              <a:defRPr>
                <a:solidFill>
                  <a:schemeClr val="accent2"/>
                </a:solidFill>
                <a:latin typeface="ES Build "/>
              </a:defRPr>
            </a:lvl1pPr>
            <a:lvl2pPr marL="0" indent="0">
              <a:lnSpc>
                <a:spcPct val="110000"/>
              </a:lnSpc>
              <a:buFont typeface="Calibri" panose="020F0502020204030204" pitchFamily="34" charset="0"/>
              <a:buChar char="​"/>
              <a:defRPr sz="1600"/>
            </a:lvl2pPr>
            <a:lvl3pPr marL="173736" indent="-173736">
              <a:lnSpc>
                <a:spcPct val="110000"/>
              </a:lnSpc>
              <a:defRPr sz="1200"/>
            </a:lvl3pPr>
            <a:lvl4pPr marL="173736" indent="-173736">
              <a:lnSpc>
                <a:spcPct val="110000"/>
              </a:lnSpc>
              <a:defRPr sz="1200"/>
            </a:lvl4pPr>
            <a:lvl5pPr marL="173736" indent="-173736"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9" name="Content Placeholder 40">
            <a:extLst>
              <a:ext uri="{FF2B5EF4-FFF2-40B4-BE49-F238E27FC236}">
                <a16:creationId xmlns:a16="http://schemas.microsoft.com/office/drawing/2014/main" id="{CE2CB06E-DD2D-D95A-5268-F43E7277542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2107" y="4550848"/>
            <a:ext cx="3464940" cy="1615909"/>
          </a:xfrm>
        </p:spPr>
        <p:txBody>
          <a:bodyPr/>
          <a:lstStyle>
            <a:lvl1pPr>
              <a:spcAft>
                <a:spcPts val="900"/>
              </a:spcAft>
              <a:defRPr>
                <a:solidFill>
                  <a:schemeClr val="accent2"/>
                </a:solidFill>
                <a:latin typeface="+mn-lt"/>
              </a:defRPr>
            </a:lvl1pPr>
            <a:lvl2pPr marL="0" indent="0">
              <a:lnSpc>
                <a:spcPct val="110000"/>
              </a:lnSpc>
              <a:buFont typeface="Calibri" panose="020F0502020204030204" pitchFamily="34" charset="0"/>
              <a:buChar char="​"/>
              <a:defRPr sz="1600"/>
            </a:lvl2pPr>
            <a:lvl3pPr marL="173736" indent="-173736">
              <a:lnSpc>
                <a:spcPct val="110000"/>
              </a:lnSpc>
              <a:defRPr sz="1200"/>
            </a:lvl3pPr>
            <a:lvl4pPr marL="173736" indent="-173736">
              <a:lnSpc>
                <a:spcPct val="110000"/>
              </a:lnSpc>
              <a:defRPr sz="1200"/>
            </a:lvl4pPr>
            <a:lvl5pPr marL="173736" indent="-173736"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9750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5DB76-3583-76FE-C21C-C259AAE77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3" y="306131"/>
            <a:ext cx="7032626" cy="165100"/>
          </a:xfr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Font typeface="Calibri" panose="020F0502020204030204" pitchFamily="34" charset="0"/>
              <a:buChar char="​"/>
              <a:tabLst/>
              <a:defRPr lang="en-US" sz="1200" b="0" i="0" kern="1200" cap="all" baseline="0" dirty="0">
                <a:solidFill>
                  <a:schemeClr val="accent2"/>
                </a:solidFill>
                <a:latin typeface="+mn-lt"/>
                <a:ea typeface="ES Build" pitchFamily="2" charset="77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483895-7F93-D609-F151-0BDE90B0F0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97578E6-6029-1118-F8FB-B0AD6C1DEB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89800" y="687509"/>
            <a:ext cx="1313600" cy="1023815"/>
          </a:xfrm>
        </p:spPr>
        <p:txBody>
          <a:bodyPr/>
          <a:lstStyle>
            <a:lvl1pPr algn="ctr">
              <a:defRPr sz="1400"/>
            </a:lvl1pPr>
          </a:lstStyle>
          <a:p>
            <a:r>
              <a:rPr lang="en-US" dirty="0"/>
              <a:t>Place logo her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6AE8CF52-B763-1B63-535D-583AAAF938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123237" y="431800"/>
            <a:ext cx="3573461" cy="1279525"/>
          </a:xfrm>
        </p:spPr>
        <p:txBody>
          <a:bodyPr anchor="t"/>
          <a:lstStyle>
            <a:lvl1pPr marL="0" indent="0" algn="l">
              <a:buNone/>
              <a:defRPr kumimoji="0" lang="en-US" sz="2100" b="0" i="0" u="none" strike="noStrike" kern="0" cap="none" spc="0" normalizeH="0" baseline="0" dirty="0">
                <a:ln>
                  <a:noFill/>
                </a:ln>
                <a:solidFill>
                  <a:srgbClr val="8D70F3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case study title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7AA290A0-7732-7405-4696-069B12A00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1493" y="1862713"/>
            <a:ext cx="6817658" cy="4306312"/>
          </a:xfrm>
        </p:spPr>
        <p:txBody>
          <a:bodyPr/>
          <a:lstStyle>
            <a:lvl1pPr marL="146304" indent="-146304">
              <a:spcAft>
                <a:spcPts val="1200"/>
              </a:spcAft>
              <a:buFont typeface="ES Build Neutral" pitchFamily="50" charset="0"/>
              <a:buChar char="“"/>
              <a:defRPr sz="3400">
                <a:latin typeface="ES Build "/>
              </a:defRPr>
            </a:lvl1pPr>
            <a:lvl2pPr marL="344488" indent="-182880">
              <a:buFont typeface="Microsoft Sans Serif" panose="020B0604020202020204" pitchFamily="34" charset="0"/>
              <a:buChar char="—"/>
              <a:defRPr lang="en-US" sz="1600" b="0" i="0" kern="1200" dirty="0">
                <a:solidFill>
                  <a:schemeClr val="accent4"/>
                </a:solidFill>
                <a:latin typeface="+mn-lt"/>
                <a:ea typeface="ES Build" pitchFamily="2" charset="77"/>
                <a:cs typeface="+mn-cs"/>
              </a:defRPr>
            </a:lvl2pPr>
            <a:lvl3pPr marL="344488" indent="-182880">
              <a:defRPr/>
            </a:lvl3pPr>
            <a:lvl4pPr marL="344488" indent="-182880">
              <a:defRPr/>
            </a:lvl4pPr>
            <a:lvl5pPr marL="344488" indent="-18288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2" name="Content Placeholder 40">
            <a:extLst>
              <a:ext uri="{FF2B5EF4-FFF2-40B4-BE49-F238E27FC236}">
                <a16:creationId xmlns:a16="http://schemas.microsoft.com/office/drawing/2014/main" id="{FF2532BF-4680-53D7-A2A5-5AE22750B87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3239" y="1936959"/>
            <a:ext cx="3573461" cy="4237418"/>
          </a:xfrm>
        </p:spPr>
        <p:txBody>
          <a:bodyPr/>
          <a:lstStyle>
            <a:lvl1pPr>
              <a:spcAft>
                <a:spcPts val="900"/>
              </a:spcAft>
              <a:defRPr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 typeface="Calibri" panose="020F0502020204030204" pitchFamily="34" charset="0"/>
              <a:buChar char="​"/>
              <a:defRPr sz="1600"/>
            </a:lvl2pPr>
            <a:lvl3pPr marL="173736" indent="-173736">
              <a:lnSpc>
                <a:spcPct val="110000"/>
              </a:lnSpc>
              <a:defRPr sz="1200"/>
            </a:lvl3pPr>
            <a:lvl4pPr marL="173736" indent="-173736">
              <a:lnSpc>
                <a:spcPct val="110000"/>
              </a:lnSpc>
              <a:defRPr sz="1200"/>
            </a:lvl4pPr>
            <a:lvl5pPr marL="173736" indent="-173736">
              <a:lnSpc>
                <a:spcPct val="110000"/>
              </a:lnSpc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1D0442B-7798-917E-7B5A-5746626D2C01}"/>
              </a:ext>
            </a:extLst>
          </p:cNvPr>
          <p:cNvCxnSpPr>
            <a:cxnSpLocks/>
          </p:cNvCxnSpPr>
          <p:nvPr userDrawn="1"/>
        </p:nvCxnSpPr>
        <p:spPr>
          <a:xfrm>
            <a:off x="7722165" y="335280"/>
            <a:ext cx="0" cy="5839097"/>
          </a:xfrm>
          <a:prstGeom prst="line">
            <a:avLst/>
          </a:prstGeom>
          <a:noFill/>
          <a:ln w="12700" cap="rnd" cmpd="sng" algn="ctr">
            <a:solidFill>
              <a:srgbClr val="E7E6E6"/>
            </a:solidFill>
            <a:prstDash val="solid"/>
            <a:round/>
            <a:headEnd type="none" w="med" len="sm"/>
            <a:tailEnd type="none" w="sm" len="sm"/>
          </a:ln>
          <a:effectLst/>
        </p:spPr>
      </p:cxn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D2E1115-292E-049E-1996-E0C28123E335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259681" y="3929988"/>
            <a:ext cx="3909469" cy="2239037"/>
          </a:xfrm>
          <a:custGeom>
            <a:avLst/>
            <a:gdLst>
              <a:gd name="connsiteX0" fmla="*/ 0 w 7823270"/>
              <a:gd name="connsiteY0" fmla="*/ 0 h 4480555"/>
              <a:gd name="connsiteX1" fmla="*/ 7435077 w 7823270"/>
              <a:gd name="connsiteY1" fmla="*/ 0 h 4480555"/>
              <a:gd name="connsiteX2" fmla="*/ 7566290 w 7823270"/>
              <a:gd name="connsiteY2" fmla="*/ 54466 h 4480555"/>
              <a:gd name="connsiteX3" fmla="*/ 7768804 w 7823270"/>
              <a:gd name="connsiteY3" fmla="*/ 256980 h 4480555"/>
              <a:gd name="connsiteX4" fmla="*/ 7823270 w 7823270"/>
              <a:gd name="connsiteY4" fmla="*/ 388193 h 4480555"/>
              <a:gd name="connsiteX5" fmla="*/ 7823270 w 7823270"/>
              <a:gd name="connsiteY5" fmla="*/ 4480555 h 4480555"/>
              <a:gd name="connsiteX6" fmla="*/ 388688 w 7823270"/>
              <a:gd name="connsiteY6" fmla="*/ 4480555 h 4480555"/>
              <a:gd name="connsiteX7" fmla="*/ 256980 w 7823270"/>
              <a:gd name="connsiteY7" fmla="*/ 4426089 h 4480555"/>
              <a:gd name="connsiteX8" fmla="*/ 54466 w 7823270"/>
              <a:gd name="connsiteY8" fmla="*/ 4223575 h 4480555"/>
              <a:gd name="connsiteX9" fmla="*/ 0 w 7823270"/>
              <a:gd name="connsiteY9" fmla="*/ 4092362 h 4480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23270" h="4480555">
                <a:moveTo>
                  <a:pt x="0" y="0"/>
                </a:moveTo>
                <a:lnTo>
                  <a:pt x="7435077" y="0"/>
                </a:lnTo>
                <a:cubicBezTo>
                  <a:pt x="7484097" y="0"/>
                  <a:pt x="7531630" y="19806"/>
                  <a:pt x="7566290" y="54466"/>
                </a:cubicBezTo>
                <a:cubicBezTo>
                  <a:pt x="7639572" y="127747"/>
                  <a:pt x="7695523" y="183698"/>
                  <a:pt x="7768804" y="256980"/>
                </a:cubicBezTo>
                <a:cubicBezTo>
                  <a:pt x="7803464" y="291640"/>
                  <a:pt x="7823270" y="338679"/>
                  <a:pt x="7823270" y="388193"/>
                </a:cubicBezTo>
                <a:lnTo>
                  <a:pt x="7823270" y="4480555"/>
                </a:lnTo>
                <a:lnTo>
                  <a:pt x="388688" y="4480555"/>
                </a:lnTo>
                <a:cubicBezTo>
                  <a:pt x="339173" y="4480555"/>
                  <a:pt x="291640" y="4460749"/>
                  <a:pt x="256980" y="4426089"/>
                </a:cubicBezTo>
                <a:cubicBezTo>
                  <a:pt x="183698" y="4352807"/>
                  <a:pt x="127747" y="4296857"/>
                  <a:pt x="54466" y="4223575"/>
                </a:cubicBezTo>
                <a:cubicBezTo>
                  <a:pt x="19806" y="4188915"/>
                  <a:pt x="0" y="4141876"/>
                  <a:pt x="0" y="409236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>
            <a:noAutofit/>
          </a:bodyPr>
          <a:lstStyle>
            <a:lvl1pPr algn="ctr">
              <a:defRPr lang="en-US" sz="1400"/>
            </a:lvl1pPr>
          </a:lstStyle>
          <a:p>
            <a:r>
              <a:rPr lang="en-US" dirty="0"/>
              <a:t>Please use Veeam approved images</a:t>
            </a:r>
          </a:p>
        </p:txBody>
      </p:sp>
    </p:spTree>
    <p:extLst>
      <p:ext uri="{BB962C8B-B14F-4D97-AF65-F5344CB8AC3E}">
        <p14:creationId xmlns:p14="http://schemas.microsoft.com/office/powerpoint/2010/main" val="22516268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845A284-DBAD-23F3-3639-65CC4EF854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657A0C-A7D3-306E-9D89-D696B4020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61B790-A94A-E720-414F-DF0D78D4401B}"/>
              </a:ext>
            </a:extLst>
          </p:cNvPr>
          <p:cNvSpPr txBox="1"/>
          <p:nvPr userDrawn="1"/>
        </p:nvSpPr>
        <p:spPr>
          <a:xfrm>
            <a:off x="493288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10" name="Footer Placeholder 66">
            <a:extLst>
              <a:ext uri="{FF2B5EF4-FFF2-40B4-BE49-F238E27FC236}">
                <a16:creationId xmlns:a16="http://schemas.microsoft.com/office/drawing/2014/main" id="{97F31708-9F6E-8E99-2050-8BC992CFF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F5F1E5AD-AD26-691E-9E7B-EA9E3062EB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11203413" cy="44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E52671E-2F91-FCAA-AAAC-EC945FB552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000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-side Titl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F0E8D4A-B91E-1851-1391-1D742053E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88" y="2397125"/>
            <a:ext cx="2861099" cy="147146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2AC6C291-DD7C-A3F1-3AE8-B348ECD39C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3" y="3997587"/>
            <a:ext cx="2860675" cy="628841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6A3496-A492-CB77-B0F6-986DC387143A}"/>
              </a:ext>
            </a:extLst>
          </p:cNvPr>
          <p:cNvSpPr txBox="1"/>
          <p:nvPr userDrawn="1"/>
        </p:nvSpPr>
        <p:spPr>
          <a:xfrm>
            <a:off x="493288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5F8E6F8-AFDE-B60E-EB55-C0EE63349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29188" y="6363550"/>
            <a:ext cx="667512" cy="202915"/>
          </a:xfrm>
          <a:prstGeom prst="rect">
            <a:avLst/>
          </a:prstGeom>
        </p:spPr>
      </p:pic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8143B07C-D2B0-AF1A-2710-1E5BDDEBE1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21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lterna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06951534-1768-2305-3944-BBB010087506}"/>
              </a:ext>
            </a:extLst>
          </p:cNvPr>
          <p:cNvSpPr/>
          <p:nvPr userDrawn="1"/>
        </p:nvSpPr>
        <p:spPr>
          <a:xfrm>
            <a:off x="0" y="2774"/>
            <a:ext cx="12192000" cy="6376946"/>
          </a:xfrm>
          <a:custGeom>
            <a:avLst/>
            <a:gdLst>
              <a:gd name="connsiteX0" fmla="*/ 3413735 w 12192000"/>
              <a:gd name="connsiteY0" fmla="*/ 0 h 6376946"/>
              <a:gd name="connsiteX1" fmla="*/ 3715970 w 12192000"/>
              <a:gd name="connsiteY1" fmla="*/ 10885 h 6376946"/>
              <a:gd name="connsiteX2" fmla="*/ 9043454 w 12192000"/>
              <a:gd name="connsiteY2" fmla="*/ 5327108 h 6376946"/>
              <a:gd name="connsiteX3" fmla="*/ 10008674 w 12192000"/>
              <a:gd name="connsiteY3" fmla="*/ 5327108 h 6376946"/>
              <a:gd name="connsiteX4" fmla="*/ 12192000 w 12192000"/>
              <a:gd name="connsiteY4" fmla="*/ 3143953 h 6376946"/>
              <a:gd name="connsiteX5" fmla="*/ 12192000 w 12192000"/>
              <a:gd name="connsiteY5" fmla="*/ 6376946 h 6376946"/>
              <a:gd name="connsiteX6" fmla="*/ 6409546 w 12192000"/>
              <a:gd name="connsiteY6" fmla="*/ 6376946 h 6376946"/>
              <a:gd name="connsiteX7" fmla="*/ 4004673 w 12192000"/>
              <a:gd name="connsiteY7" fmla="*/ 5376319 h 6376946"/>
              <a:gd name="connsiteX8" fmla="*/ 3694038 w 12192000"/>
              <a:gd name="connsiteY8" fmla="*/ 5066338 h 6376946"/>
              <a:gd name="connsiteX9" fmla="*/ 0 w 12192000"/>
              <a:gd name="connsiteY9" fmla="*/ 679707 h 6376946"/>
              <a:gd name="connsiteX10" fmla="*/ 0 w 12192000"/>
              <a:gd name="connsiteY10" fmla="*/ 1988 h 6376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376946">
                <a:moveTo>
                  <a:pt x="3413735" y="0"/>
                </a:moveTo>
                <a:lnTo>
                  <a:pt x="3715970" y="10885"/>
                </a:lnTo>
                <a:lnTo>
                  <a:pt x="9043454" y="5327108"/>
                </a:lnTo>
                <a:cubicBezTo>
                  <a:pt x="9305208" y="5605972"/>
                  <a:pt x="9746920" y="5605972"/>
                  <a:pt x="10008674" y="5327108"/>
                </a:cubicBezTo>
                <a:lnTo>
                  <a:pt x="12192000" y="3143953"/>
                </a:lnTo>
                <a:lnTo>
                  <a:pt x="12192000" y="6376946"/>
                </a:lnTo>
                <a:lnTo>
                  <a:pt x="6409546" y="6376946"/>
                </a:lnTo>
                <a:cubicBezTo>
                  <a:pt x="5509763" y="6376946"/>
                  <a:pt x="4642700" y="6016064"/>
                  <a:pt x="4004673" y="5376319"/>
                </a:cubicBezTo>
                <a:lnTo>
                  <a:pt x="3694038" y="5066338"/>
                </a:lnTo>
                <a:lnTo>
                  <a:pt x="0" y="679707"/>
                </a:lnTo>
                <a:lnTo>
                  <a:pt x="0" y="1988"/>
                </a:lnTo>
                <a:close/>
              </a:path>
            </a:pathLst>
          </a:custGeom>
          <a:gradFill flip="none" rotWithShape="1">
            <a:gsLst>
              <a:gs pos="56000">
                <a:srgbClr val="00D05D">
                  <a:lumMod val="60000"/>
                  <a:lumOff val="40000"/>
                  <a:alpha val="9000"/>
                </a:srgbClr>
              </a:gs>
              <a:gs pos="100000">
                <a:srgbClr val="00D05D">
                  <a:lumMod val="60000"/>
                  <a:lumOff val="40000"/>
                  <a:alpha val="41000"/>
                </a:srgbClr>
              </a:gs>
            </a:gsLst>
            <a:lin ang="24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EAC99465-3B98-DDF5-D9D9-3CF8E6DB5A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6494" y="4972957"/>
            <a:ext cx="2140840" cy="939289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buNone/>
              <a:defRPr sz="1600" b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Speaker</a:t>
            </a:r>
            <a:br>
              <a:rPr lang="en-US" dirty="0"/>
            </a:br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F7A5B0-E8E8-DEA8-198F-09DE3F82BE11}"/>
              </a:ext>
            </a:extLst>
          </p:cNvPr>
          <p:cNvSpPr txBox="1"/>
          <p:nvPr userDrawn="1"/>
        </p:nvSpPr>
        <p:spPr>
          <a:xfrm>
            <a:off x="765932" y="6562482"/>
            <a:ext cx="5211836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accent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31" name="Picture Placeholder 22">
            <a:extLst>
              <a:ext uri="{FF2B5EF4-FFF2-40B4-BE49-F238E27FC236}">
                <a16:creationId xmlns:a16="http://schemas.microsoft.com/office/drawing/2014/main" id="{AC4C46DD-E399-4A5A-AD91-2088AA306B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097" y="4861331"/>
            <a:ext cx="800100" cy="800100"/>
          </a:xfrm>
          <a:prstGeom prst="ellipse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14E0BAFF-494F-1232-840B-B3A34B643C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0655" y="3917439"/>
            <a:ext cx="2124285" cy="965664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buNone/>
              <a:defRPr sz="1600" b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Speaker</a:t>
            </a:r>
            <a:br>
              <a:rPr lang="en-US" dirty="0"/>
            </a:br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33" name="Picture Placeholder 26">
            <a:extLst>
              <a:ext uri="{FF2B5EF4-FFF2-40B4-BE49-F238E27FC236}">
                <a16:creationId xmlns:a16="http://schemas.microsoft.com/office/drawing/2014/main" id="{E463451C-6D2C-0E9F-3BBC-9411F1995B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1425" y="3830126"/>
            <a:ext cx="800100" cy="800100"/>
          </a:xfrm>
          <a:prstGeom prst="ellipse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800"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C6CC62D-4433-B209-F6FD-85E8D95DB9D3}"/>
              </a:ext>
            </a:extLst>
          </p:cNvPr>
          <p:cNvGrpSpPr/>
          <p:nvPr userDrawn="1"/>
        </p:nvGrpSpPr>
        <p:grpSpPr>
          <a:xfrm flipH="1">
            <a:off x="4067175" y="1025525"/>
            <a:ext cx="7464726" cy="4793351"/>
            <a:chOff x="4308184" y="1263225"/>
            <a:chExt cx="6842099" cy="4393541"/>
          </a:xfrm>
          <a:solidFill>
            <a:schemeClr val="bg1"/>
          </a:solidFill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718E26C-ACB4-8BAB-D365-A7BAB3A6CE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08184" y="1263225"/>
              <a:ext cx="6005985" cy="4393541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7EA4986E-0877-5E34-8177-4EEFEF1630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44298" y="1263225"/>
              <a:ext cx="6005985" cy="4393541"/>
            </a:xfrm>
            <a:prstGeom prst="rect">
              <a:avLst/>
            </a:prstGeom>
          </p:spPr>
        </p:pic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08F0DC7C-00AA-1162-5EC7-EBB50D8D1D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18051" y="2058644"/>
            <a:ext cx="5990740" cy="2581299"/>
          </a:xfrm>
        </p:spPr>
        <p:txBody>
          <a:bodyPr anchor="ctr">
            <a:normAutofit/>
          </a:bodyPr>
          <a:lstStyle>
            <a:lvl1pPr algn="l">
              <a:lnSpc>
                <a:spcPct val="85000"/>
              </a:lnSpc>
              <a:defRPr lang="en-US" sz="7200" b="0" i="0" kern="1200" spc="-150" baseline="0" dirty="0">
                <a:solidFill>
                  <a:schemeClr val="tx1"/>
                </a:solidFill>
                <a:latin typeface="+mj-lt"/>
                <a:ea typeface="ES Build Full Bauhaus Medium" pitchFamily="2" charset="77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32EA706C-177A-D645-19B1-434E2BB3B8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18051" y="4730182"/>
            <a:ext cx="6005985" cy="48770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3">
                    <a:lumMod val="60000"/>
                    <a:lumOff val="40000"/>
                  </a:schemeClr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E43F9FFC-267E-652E-5764-97A765A3BC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751" y="3033711"/>
            <a:ext cx="2560637" cy="274955"/>
          </a:xfrm>
        </p:spPr>
        <p:txBody>
          <a:bodyPr>
            <a:noAutofit/>
          </a:bodyPr>
          <a:lstStyle>
            <a:lvl1pPr marL="0" indent="0">
              <a:buNone/>
              <a:defRPr sz="1600" b="0" spc="0" baseline="0">
                <a:solidFill>
                  <a:schemeClr val="accent1"/>
                </a:solidFill>
                <a:latin typeface="ES Build Medium" pitchFamily="2" charset="0"/>
                <a:ea typeface="ES Build Medium" pitchFamily="2" charset="0"/>
              </a:defRPr>
            </a:lvl1pPr>
            <a:lvl2pPr>
              <a:defRPr b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9CD186B-801D-AA27-3ED6-4DF90968D7DB}"/>
              </a:ext>
            </a:extLst>
          </p:cNvPr>
          <p:cNvGrpSpPr/>
          <p:nvPr userDrawn="1"/>
        </p:nvGrpSpPr>
        <p:grpSpPr>
          <a:xfrm>
            <a:off x="782097" y="694483"/>
            <a:ext cx="1346160" cy="412987"/>
            <a:chOff x="2406776" y="-1036657"/>
            <a:chExt cx="1346160" cy="412987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0977220-16C4-9275-5E4A-BB4EEABE1D81}"/>
                </a:ext>
              </a:extLst>
            </p:cNvPr>
            <p:cNvSpPr/>
            <p:nvPr/>
          </p:nvSpPr>
          <p:spPr>
            <a:xfrm>
              <a:off x="2406776" y="-1036657"/>
              <a:ext cx="1346160" cy="412672"/>
            </a:xfrm>
            <a:custGeom>
              <a:avLst/>
              <a:gdLst>
                <a:gd name="connsiteX0" fmla="*/ 113980 w 1346160"/>
                <a:gd name="connsiteY0" fmla="*/ 0 h 412672"/>
                <a:gd name="connsiteX1" fmla="*/ 81943 w 1346160"/>
                <a:gd name="connsiteY1" fmla="*/ 13537 h 412672"/>
                <a:gd name="connsiteX2" fmla="*/ 13268 w 1346160"/>
                <a:gd name="connsiteY2" fmla="*/ 83602 h 412672"/>
                <a:gd name="connsiteX3" fmla="*/ 0 w 1346160"/>
                <a:gd name="connsiteY3" fmla="*/ 116287 h 412672"/>
                <a:gd name="connsiteX4" fmla="*/ 0 w 1346160"/>
                <a:gd name="connsiteY4" fmla="*/ 412672 h 412672"/>
                <a:gd name="connsiteX5" fmla="*/ 1232900 w 1346160"/>
                <a:gd name="connsiteY5" fmla="*/ 411939 h 412672"/>
                <a:gd name="connsiteX6" fmla="*/ 1264936 w 1346160"/>
                <a:gd name="connsiteY6" fmla="*/ 398402 h 412672"/>
                <a:gd name="connsiteX7" fmla="*/ 1332848 w 1346160"/>
                <a:gd name="connsiteY7" fmla="*/ 329116 h 412672"/>
                <a:gd name="connsiteX8" fmla="*/ 1346116 w 1346160"/>
                <a:gd name="connsiteY8" fmla="*/ 296431 h 412672"/>
                <a:gd name="connsiteX9" fmla="*/ 1346161 w 1346160"/>
                <a:gd name="connsiteY9" fmla="*/ 0 h 412672"/>
                <a:gd name="connsiteX10" fmla="*/ 113980 w 1346160"/>
                <a:gd name="connsiteY10" fmla="*/ 0 h 41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160" h="412672">
                  <a:moveTo>
                    <a:pt x="113980" y="0"/>
                  </a:moveTo>
                  <a:cubicBezTo>
                    <a:pt x="101969" y="0"/>
                    <a:pt x="90430" y="4879"/>
                    <a:pt x="81943" y="13537"/>
                  </a:cubicBezTo>
                  <a:lnTo>
                    <a:pt x="13268" y="83602"/>
                  </a:lnTo>
                  <a:cubicBezTo>
                    <a:pt x="4782" y="92260"/>
                    <a:pt x="0" y="104033"/>
                    <a:pt x="0" y="116287"/>
                  </a:cubicBezTo>
                  <a:lnTo>
                    <a:pt x="0" y="412672"/>
                  </a:lnTo>
                  <a:lnTo>
                    <a:pt x="1232900" y="411939"/>
                  </a:lnTo>
                  <a:cubicBezTo>
                    <a:pt x="1244910" y="411939"/>
                    <a:pt x="1256450" y="407060"/>
                    <a:pt x="1264936" y="398402"/>
                  </a:cubicBezTo>
                  <a:lnTo>
                    <a:pt x="1332848" y="329116"/>
                  </a:lnTo>
                  <a:cubicBezTo>
                    <a:pt x="1341334" y="320458"/>
                    <a:pt x="1346116" y="308685"/>
                    <a:pt x="1346116" y="296431"/>
                  </a:cubicBezTo>
                  <a:lnTo>
                    <a:pt x="1346161" y="0"/>
                  </a:lnTo>
                  <a:lnTo>
                    <a:pt x="113980" y="0"/>
                  </a:lnTo>
                  <a:close/>
                </a:path>
              </a:pathLst>
            </a:custGeom>
            <a:solidFill>
              <a:srgbClr val="00D15F"/>
            </a:solidFill>
            <a:ln w="22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90BCDA0-86A1-4B47-E91F-B2B4665F8115}"/>
                </a:ext>
              </a:extLst>
            </p:cNvPr>
            <p:cNvSpPr/>
            <p:nvPr/>
          </p:nvSpPr>
          <p:spPr>
            <a:xfrm>
              <a:off x="2407135" y="-1036657"/>
              <a:ext cx="1009744" cy="412987"/>
            </a:xfrm>
            <a:custGeom>
              <a:avLst/>
              <a:gdLst>
                <a:gd name="connsiteX0" fmla="*/ 0 w 1009744"/>
                <a:gd name="connsiteY0" fmla="*/ 156393 h 412987"/>
                <a:gd name="connsiteX1" fmla="*/ 0 w 1009744"/>
                <a:gd name="connsiteY1" fmla="*/ 412695 h 412987"/>
                <a:gd name="connsiteX2" fmla="*/ 450756 w 1009744"/>
                <a:gd name="connsiteY2" fmla="*/ 412695 h 412987"/>
                <a:gd name="connsiteX3" fmla="*/ 541634 w 1009744"/>
                <a:gd name="connsiteY3" fmla="*/ 406121 h 412987"/>
                <a:gd name="connsiteX4" fmla="*/ 712570 w 1009744"/>
                <a:gd name="connsiteY4" fmla="*/ 302593 h 412987"/>
                <a:gd name="connsiteX5" fmla="*/ 1009744 w 1009744"/>
                <a:gd name="connsiteY5" fmla="*/ 0 h 412987"/>
                <a:gd name="connsiteX6" fmla="*/ 559931 w 1009744"/>
                <a:gd name="connsiteY6" fmla="*/ 46 h 412987"/>
                <a:gd name="connsiteX7" fmla="*/ 250073 w 1009744"/>
                <a:gd name="connsiteY7" fmla="*/ 314892 h 412987"/>
                <a:gd name="connsiteX8" fmla="*/ 205846 w 1009744"/>
                <a:gd name="connsiteY8" fmla="*/ 337545 h 412987"/>
                <a:gd name="connsiteX9" fmla="*/ 165997 w 1009744"/>
                <a:gd name="connsiteY9" fmla="*/ 323963 h 412987"/>
                <a:gd name="connsiteX10" fmla="*/ 0 w 1009744"/>
                <a:gd name="connsiteY10" fmla="*/ 156393 h 41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9744" h="412987">
                  <a:moveTo>
                    <a:pt x="0" y="156393"/>
                  </a:moveTo>
                  <a:lnTo>
                    <a:pt x="0" y="412695"/>
                  </a:lnTo>
                  <a:lnTo>
                    <a:pt x="450756" y="412695"/>
                  </a:lnTo>
                  <a:cubicBezTo>
                    <a:pt x="450756" y="412695"/>
                    <a:pt x="501875" y="415100"/>
                    <a:pt x="541634" y="406121"/>
                  </a:cubicBezTo>
                  <a:cubicBezTo>
                    <a:pt x="614687" y="389630"/>
                    <a:pt x="658196" y="358067"/>
                    <a:pt x="712570" y="302593"/>
                  </a:cubicBezTo>
                  <a:cubicBezTo>
                    <a:pt x="804302" y="208959"/>
                    <a:pt x="1009744" y="0"/>
                    <a:pt x="1009744" y="0"/>
                  </a:cubicBezTo>
                  <a:lnTo>
                    <a:pt x="559931" y="46"/>
                  </a:lnTo>
                  <a:lnTo>
                    <a:pt x="250073" y="314892"/>
                  </a:lnTo>
                  <a:cubicBezTo>
                    <a:pt x="250073" y="314892"/>
                    <a:pt x="231439" y="337820"/>
                    <a:pt x="205846" y="337545"/>
                  </a:cubicBezTo>
                  <a:cubicBezTo>
                    <a:pt x="178053" y="337224"/>
                    <a:pt x="165997" y="323963"/>
                    <a:pt x="165997" y="323963"/>
                  </a:cubicBezTo>
                  <a:lnTo>
                    <a:pt x="0" y="156393"/>
                  </a:lnTo>
                  <a:close/>
                </a:path>
              </a:pathLst>
            </a:custGeom>
            <a:solidFill>
              <a:srgbClr val="FFFFFF">
                <a:alpha val="25000"/>
              </a:srgbClr>
            </a:solidFill>
            <a:ln w="22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14" name="Graphic 1">
              <a:extLst>
                <a:ext uri="{FF2B5EF4-FFF2-40B4-BE49-F238E27FC236}">
                  <a16:creationId xmlns:a16="http://schemas.microsoft.com/office/drawing/2014/main" id="{F01F1D81-4582-1C5A-2197-37F6498E2EC6}"/>
                </a:ext>
              </a:extLst>
            </p:cNvPr>
            <p:cNvGrpSpPr/>
            <p:nvPr/>
          </p:nvGrpSpPr>
          <p:grpSpPr>
            <a:xfrm>
              <a:off x="2502616" y="-933884"/>
              <a:ext cx="1130526" cy="206622"/>
              <a:chOff x="2502616" y="-933884"/>
              <a:chExt cx="1130526" cy="206622"/>
            </a:xfrm>
            <a:solidFill>
              <a:srgbClr val="FFFFFF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5138B4DD-4F04-65EE-EC7E-A0BA75847B8D}"/>
                  </a:ext>
                </a:extLst>
              </p:cNvPr>
              <p:cNvSpPr/>
              <p:nvPr/>
            </p:nvSpPr>
            <p:spPr>
              <a:xfrm>
                <a:off x="2502616" y="-929578"/>
                <a:ext cx="221224" cy="198147"/>
              </a:xfrm>
              <a:custGeom>
                <a:avLst/>
                <a:gdLst>
                  <a:gd name="connsiteX0" fmla="*/ 93011 w 221224"/>
                  <a:gd name="connsiteY0" fmla="*/ 198148 h 198147"/>
                  <a:gd name="connsiteX1" fmla="*/ 0 w 221224"/>
                  <a:gd name="connsiteY1" fmla="*/ 0 h 198147"/>
                  <a:gd name="connsiteX2" fmla="*/ 41915 w 221224"/>
                  <a:gd name="connsiteY2" fmla="*/ 0 h 198147"/>
                  <a:gd name="connsiteX3" fmla="*/ 110006 w 221224"/>
                  <a:gd name="connsiteY3" fmla="*/ 149017 h 198147"/>
                  <a:gd name="connsiteX4" fmla="*/ 110814 w 221224"/>
                  <a:gd name="connsiteY4" fmla="*/ 149017 h 198147"/>
                  <a:gd name="connsiteX5" fmla="*/ 178906 w 221224"/>
                  <a:gd name="connsiteY5" fmla="*/ 0 h 198147"/>
                  <a:gd name="connsiteX6" fmla="*/ 221225 w 221224"/>
                  <a:gd name="connsiteY6" fmla="*/ 0 h 198147"/>
                  <a:gd name="connsiteX7" fmla="*/ 128213 w 221224"/>
                  <a:gd name="connsiteY7" fmla="*/ 198148 h 198147"/>
                  <a:gd name="connsiteX8" fmla="*/ 92966 w 221224"/>
                  <a:gd name="connsiteY8" fmla="*/ 198148 h 198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224" h="198147">
                    <a:moveTo>
                      <a:pt x="93011" y="198148"/>
                    </a:moveTo>
                    <a:lnTo>
                      <a:pt x="0" y="0"/>
                    </a:lnTo>
                    <a:lnTo>
                      <a:pt x="41915" y="0"/>
                    </a:lnTo>
                    <a:cubicBezTo>
                      <a:pt x="41915" y="0"/>
                      <a:pt x="108390" y="141848"/>
                      <a:pt x="110006" y="149017"/>
                    </a:cubicBezTo>
                    <a:lnTo>
                      <a:pt x="110814" y="149017"/>
                    </a:lnTo>
                    <a:cubicBezTo>
                      <a:pt x="112476" y="141825"/>
                      <a:pt x="178906" y="0"/>
                      <a:pt x="178906" y="0"/>
                    </a:cubicBezTo>
                    <a:lnTo>
                      <a:pt x="221225" y="0"/>
                    </a:lnTo>
                    <a:lnTo>
                      <a:pt x="128213" y="198148"/>
                    </a:lnTo>
                    <a:lnTo>
                      <a:pt x="92966" y="198148"/>
                    </a:ln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714F40F0-B8C9-2A39-A4C7-1FFE15D0EF6A}"/>
                  </a:ext>
                </a:extLst>
              </p:cNvPr>
              <p:cNvSpPr/>
              <p:nvPr/>
            </p:nvSpPr>
            <p:spPr>
              <a:xfrm>
                <a:off x="2713962" y="-933884"/>
                <a:ext cx="190894" cy="206599"/>
              </a:xfrm>
              <a:custGeom>
                <a:avLst/>
                <a:gdLst>
                  <a:gd name="connsiteX0" fmla="*/ 190041 w 190894"/>
                  <a:gd name="connsiteY0" fmla="*/ 118577 h 206599"/>
                  <a:gd name="connsiteX1" fmla="*/ 39423 w 190894"/>
                  <a:gd name="connsiteY1" fmla="*/ 118577 h 206599"/>
                  <a:gd name="connsiteX2" fmla="*/ 97950 w 190894"/>
                  <a:gd name="connsiteY2" fmla="*/ 171051 h 206599"/>
                  <a:gd name="connsiteX3" fmla="*/ 146914 w 190894"/>
                  <a:gd name="connsiteY3" fmla="*/ 143108 h 206599"/>
                  <a:gd name="connsiteX4" fmla="*/ 185910 w 190894"/>
                  <a:gd name="connsiteY4" fmla="*/ 143108 h 206599"/>
                  <a:gd name="connsiteX5" fmla="*/ 97928 w 190894"/>
                  <a:gd name="connsiteY5" fmla="*/ 206599 h 206599"/>
                  <a:gd name="connsiteX6" fmla="*/ 0 w 190894"/>
                  <a:gd name="connsiteY6" fmla="*/ 103300 h 206599"/>
                  <a:gd name="connsiteX7" fmla="*/ 97928 w 190894"/>
                  <a:gd name="connsiteY7" fmla="*/ 0 h 206599"/>
                  <a:gd name="connsiteX8" fmla="*/ 190894 w 190894"/>
                  <a:gd name="connsiteY8" fmla="*/ 103300 h 206599"/>
                  <a:gd name="connsiteX9" fmla="*/ 190086 w 190894"/>
                  <a:gd name="connsiteY9" fmla="*/ 118577 h 206599"/>
                  <a:gd name="connsiteX10" fmla="*/ 39827 w 190894"/>
                  <a:gd name="connsiteY10" fmla="*/ 86396 h 206599"/>
                  <a:gd name="connsiteX11" fmla="*/ 151472 w 190894"/>
                  <a:gd name="connsiteY11" fmla="*/ 86396 h 206599"/>
                  <a:gd name="connsiteX12" fmla="*/ 97950 w 190894"/>
                  <a:gd name="connsiteY12" fmla="*/ 35617 h 206599"/>
                  <a:gd name="connsiteX13" fmla="*/ 39827 w 190894"/>
                  <a:gd name="connsiteY13" fmla="*/ 86396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894" h="206599">
                    <a:moveTo>
                      <a:pt x="190041" y="118577"/>
                    </a:moveTo>
                    <a:lnTo>
                      <a:pt x="39423" y="118577"/>
                    </a:lnTo>
                    <a:cubicBezTo>
                      <a:pt x="44833" y="150758"/>
                      <a:pt x="68024" y="171051"/>
                      <a:pt x="97950" y="171051"/>
                    </a:cubicBezTo>
                    <a:cubicBezTo>
                      <a:pt x="122444" y="171051"/>
                      <a:pt x="138608" y="161294"/>
                      <a:pt x="146914" y="143108"/>
                    </a:cubicBezTo>
                    <a:lnTo>
                      <a:pt x="185910" y="143108"/>
                    </a:lnTo>
                    <a:cubicBezTo>
                      <a:pt x="174259" y="180763"/>
                      <a:pt x="140696" y="206599"/>
                      <a:pt x="97928" y="206599"/>
                    </a:cubicBezTo>
                    <a:cubicBezTo>
                      <a:pt x="41488" y="206599"/>
                      <a:pt x="0" y="164707"/>
                      <a:pt x="0" y="103300"/>
                    </a:cubicBezTo>
                    <a:cubicBezTo>
                      <a:pt x="0" y="41892"/>
                      <a:pt x="40657" y="0"/>
                      <a:pt x="97928" y="0"/>
                    </a:cubicBezTo>
                    <a:cubicBezTo>
                      <a:pt x="148957" y="0"/>
                      <a:pt x="190894" y="44481"/>
                      <a:pt x="190894" y="103300"/>
                    </a:cubicBezTo>
                    <a:cubicBezTo>
                      <a:pt x="190894" y="109232"/>
                      <a:pt x="190894" y="112645"/>
                      <a:pt x="190086" y="118577"/>
                    </a:cubicBezTo>
                    <a:close/>
                    <a:moveTo>
                      <a:pt x="39827" y="86396"/>
                    </a:moveTo>
                    <a:lnTo>
                      <a:pt x="151472" y="86396"/>
                    </a:lnTo>
                    <a:cubicBezTo>
                      <a:pt x="148980" y="59277"/>
                      <a:pt x="127428" y="35617"/>
                      <a:pt x="97950" y="35617"/>
                    </a:cubicBezTo>
                    <a:cubicBezTo>
                      <a:pt x="68024" y="35571"/>
                      <a:pt x="45596" y="55498"/>
                      <a:pt x="39827" y="863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36F5327F-3032-54AE-818B-D60F2D90CEE7}"/>
                  </a:ext>
                </a:extLst>
              </p:cNvPr>
              <p:cNvSpPr/>
              <p:nvPr/>
            </p:nvSpPr>
            <p:spPr>
              <a:xfrm>
                <a:off x="2920572" y="-933884"/>
                <a:ext cx="190894" cy="206599"/>
              </a:xfrm>
              <a:custGeom>
                <a:avLst/>
                <a:gdLst>
                  <a:gd name="connsiteX0" fmla="*/ 190041 w 190894"/>
                  <a:gd name="connsiteY0" fmla="*/ 118577 h 206599"/>
                  <a:gd name="connsiteX1" fmla="*/ 39423 w 190894"/>
                  <a:gd name="connsiteY1" fmla="*/ 118577 h 206599"/>
                  <a:gd name="connsiteX2" fmla="*/ 97950 w 190894"/>
                  <a:gd name="connsiteY2" fmla="*/ 171051 h 206599"/>
                  <a:gd name="connsiteX3" fmla="*/ 146914 w 190894"/>
                  <a:gd name="connsiteY3" fmla="*/ 143108 h 206599"/>
                  <a:gd name="connsiteX4" fmla="*/ 185910 w 190894"/>
                  <a:gd name="connsiteY4" fmla="*/ 143108 h 206599"/>
                  <a:gd name="connsiteX5" fmla="*/ 97928 w 190894"/>
                  <a:gd name="connsiteY5" fmla="*/ 206599 h 206599"/>
                  <a:gd name="connsiteX6" fmla="*/ 0 w 190894"/>
                  <a:gd name="connsiteY6" fmla="*/ 103300 h 206599"/>
                  <a:gd name="connsiteX7" fmla="*/ 97928 w 190894"/>
                  <a:gd name="connsiteY7" fmla="*/ 0 h 206599"/>
                  <a:gd name="connsiteX8" fmla="*/ 190894 w 190894"/>
                  <a:gd name="connsiteY8" fmla="*/ 103300 h 206599"/>
                  <a:gd name="connsiteX9" fmla="*/ 190086 w 190894"/>
                  <a:gd name="connsiteY9" fmla="*/ 118577 h 206599"/>
                  <a:gd name="connsiteX10" fmla="*/ 39827 w 190894"/>
                  <a:gd name="connsiteY10" fmla="*/ 86396 h 206599"/>
                  <a:gd name="connsiteX11" fmla="*/ 151472 w 190894"/>
                  <a:gd name="connsiteY11" fmla="*/ 86396 h 206599"/>
                  <a:gd name="connsiteX12" fmla="*/ 97950 w 190894"/>
                  <a:gd name="connsiteY12" fmla="*/ 35617 h 206599"/>
                  <a:gd name="connsiteX13" fmla="*/ 39827 w 190894"/>
                  <a:gd name="connsiteY13" fmla="*/ 86396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894" h="206599">
                    <a:moveTo>
                      <a:pt x="190041" y="118577"/>
                    </a:moveTo>
                    <a:lnTo>
                      <a:pt x="39423" y="118577"/>
                    </a:lnTo>
                    <a:cubicBezTo>
                      <a:pt x="44833" y="150758"/>
                      <a:pt x="68024" y="171051"/>
                      <a:pt x="97950" y="171051"/>
                    </a:cubicBezTo>
                    <a:cubicBezTo>
                      <a:pt x="122444" y="171051"/>
                      <a:pt x="138608" y="161294"/>
                      <a:pt x="146914" y="143108"/>
                    </a:cubicBezTo>
                    <a:lnTo>
                      <a:pt x="185910" y="143108"/>
                    </a:lnTo>
                    <a:cubicBezTo>
                      <a:pt x="174259" y="180763"/>
                      <a:pt x="140696" y="206599"/>
                      <a:pt x="97928" y="206599"/>
                    </a:cubicBezTo>
                    <a:cubicBezTo>
                      <a:pt x="41488" y="206599"/>
                      <a:pt x="0" y="164707"/>
                      <a:pt x="0" y="103300"/>
                    </a:cubicBezTo>
                    <a:cubicBezTo>
                      <a:pt x="0" y="41892"/>
                      <a:pt x="40657" y="0"/>
                      <a:pt x="97928" y="0"/>
                    </a:cubicBezTo>
                    <a:cubicBezTo>
                      <a:pt x="148957" y="0"/>
                      <a:pt x="190894" y="44481"/>
                      <a:pt x="190894" y="103300"/>
                    </a:cubicBezTo>
                    <a:cubicBezTo>
                      <a:pt x="190894" y="109232"/>
                      <a:pt x="190894" y="112645"/>
                      <a:pt x="190086" y="118577"/>
                    </a:cubicBezTo>
                    <a:close/>
                    <a:moveTo>
                      <a:pt x="39827" y="86396"/>
                    </a:moveTo>
                    <a:lnTo>
                      <a:pt x="151472" y="86396"/>
                    </a:lnTo>
                    <a:cubicBezTo>
                      <a:pt x="148980" y="59277"/>
                      <a:pt x="127428" y="35617"/>
                      <a:pt x="97950" y="35617"/>
                    </a:cubicBezTo>
                    <a:cubicBezTo>
                      <a:pt x="68024" y="35571"/>
                      <a:pt x="45641" y="55498"/>
                      <a:pt x="39827" y="863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2135A0CB-5B5E-2741-CC8D-6CA89F0A0671}"/>
                  </a:ext>
                </a:extLst>
              </p:cNvPr>
              <p:cNvSpPr/>
              <p:nvPr/>
            </p:nvSpPr>
            <p:spPr>
              <a:xfrm>
                <a:off x="3126777" y="-933861"/>
                <a:ext cx="195070" cy="206599"/>
              </a:xfrm>
              <a:custGeom>
                <a:avLst/>
                <a:gdLst>
                  <a:gd name="connsiteX0" fmla="*/ 195070 w 195070"/>
                  <a:gd name="connsiteY0" fmla="*/ 103300 h 206599"/>
                  <a:gd name="connsiteX1" fmla="*/ 195070 w 195070"/>
                  <a:gd name="connsiteY1" fmla="*/ 202362 h 206599"/>
                  <a:gd name="connsiteX2" fmla="*/ 161462 w 195070"/>
                  <a:gd name="connsiteY2" fmla="*/ 202362 h 206599"/>
                  <a:gd name="connsiteX3" fmla="*/ 158117 w 195070"/>
                  <a:gd name="connsiteY3" fmla="*/ 171464 h 206599"/>
                  <a:gd name="connsiteX4" fmla="*/ 93371 w 195070"/>
                  <a:gd name="connsiteY4" fmla="*/ 206599 h 206599"/>
                  <a:gd name="connsiteX5" fmla="*/ 0 w 195070"/>
                  <a:gd name="connsiteY5" fmla="*/ 103300 h 206599"/>
                  <a:gd name="connsiteX6" fmla="*/ 98332 w 195070"/>
                  <a:gd name="connsiteY6" fmla="*/ 0 h 206599"/>
                  <a:gd name="connsiteX7" fmla="*/ 195070 w 195070"/>
                  <a:gd name="connsiteY7" fmla="*/ 103300 h 206599"/>
                  <a:gd name="connsiteX8" fmla="*/ 156860 w 195070"/>
                  <a:gd name="connsiteY8" fmla="*/ 103300 h 206599"/>
                  <a:gd name="connsiteX9" fmla="*/ 98332 w 195070"/>
                  <a:gd name="connsiteY9" fmla="*/ 35571 h 206599"/>
                  <a:gd name="connsiteX10" fmla="*/ 38188 w 195070"/>
                  <a:gd name="connsiteY10" fmla="*/ 103300 h 206599"/>
                  <a:gd name="connsiteX11" fmla="*/ 98332 w 195070"/>
                  <a:gd name="connsiteY11" fmla="*/ 171029 h 206599"/>
                  <a:gd name="connsiteX12" fmla="*/ 156860 w 195070"/>
                  <a:gd name="connsiteY12" fmla="*/ 103300 h 206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5070" h="206599">
                    <a:moveTo>
                      <a:pt x="195070" y="103300"/>
                    </a:moveTo>
                    <a:lnTo>
                      <a:pt x="195070" y="202362"/>
                    </a:lnTo>
                    <a:lnTo>
                      <a:pt x="161462" y="202362"/>
                    </a:lnTo>
                    <a:lnTo>
                      <a:pt x="158117" y="171464"/>
                    </a:lnTo>
                    <a:cubicBezTo>
                      <a:pt x="143188" y="194345"/>
                      <a:pt x="117056" y="206599"/>
                      <a:pt x="93371" y="206599"/>
                    </a:cubicBezTo>
                    <a:cubicBezTo>
                      <a:pt x="40253" y="206599"/>
                      <a:pt x="0" y="163424"/>
                      <a:pt x="0" y="103300"/>
                    </a:cubicBezTo>
                    <a:cubicBezTo>
                      <a:pt x="0" y="43175"/>
                      <a:pt x="43149" y="0"/>
                      <a:pt x="98332" y="0"/>
                    </a:cubicBezTo>
                    <a:cubicBezTo>
                      <a:pt x="149002" y="0"/>
                      <a:pt x="195070" y="37243"/>
                      <a:pt x="195070" y="103300"/>
                    </a:cubicBezTo>
                    <a:close/>
                    <a:moveTo>
                      <a:pt x="156860" y="103300"/>
                    </a:moveTo>
                    <a:cubicBezTo>
                      <a:pt x="156860" y="59712"/>
                      <a:pt x="128662" y="35571"/>
                      <a:pt x="98332" y="35571"/>
                    </a:cubicBezTo>
                    <a:cubicBezTo>
                      <a:pt x="65128" y="35571"/>
                      <a:pt x="38188" y="62690"/>
                      <a:pt x="38188" y="103300"/>
                    </a:cubicBezTo>
                    <a:cubicBezTo>
                      <a:pt x="38188" y="143910"/>
                      <a:pt x="63108" y="171029"/>
                      <a:pt x="98332" y="171029"/>
                    </a:cubicBezTo>
                    <a:cubicBezTo>
                      <a:pt x="128258" y="171029"/>
                      <a:pt x="156860" y="145604"/>
                      <a:pt x="156860" y="1033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8CFC9282-AFB7-9636-C7E0-643BC05F0BB5}"/>
                  </a:ext>
                </a:extLst>
              </p:cNvPr>
              <p:cNvSpPr/>
              <p:nvPr/>
            </p:nvSpPr>
            <p:spPr>
              <a:xfrm>
                <a:off x="3347575" y="-933792"/>
                <a:ext cx="285566" cy="202728"/>
              </a:xfrm>
              <a:custGeom>
                <a:avLst/>
                <a:gdLst>
                  <a:gd name="connsiteX0" fmla="*/ 0 w 285566"/>
                  <a:gd name="connsiteY0" fmla="*/ 202316 h 202728"/>
                  <a:gd name="connsiteX1" fmla="*/ 0 w 285566"/>
                  <a:gd name="connsiteY1" fmla="*/ 85068 h 202728"/>
                  <a:gd name="connsiteX2" fmla="*/ 79698 w 285566"/>
                  <a:gd name="connsiteY2" fmla="*/ 0 h 202728"/>
                  <a:gd name="connsiteX3" fmla="*/ 142379 w 285566"/>
                  <a:gd name="connsiteY3" fmla="*/ 36006 h 202728"/>
                  <a:gd name="connsiteX4" fmla="*/ 143188 w 285566"/>
                  <a:gd name="connsiteY4" fmla="*/ 36006 h 202728"/>
                  <a:gd name="connsiteX5" fmla="*/ 205869 w 285566"/>
                  <a:gd name="connsiteY5" fmla="*/ 0 h 202728"/>
                  <a:gd name="connsiteX6" fmla="*/ 285567 w 285566"/>
                  <a:gd name="connsiteY6" fmla="*/ 85068 h 202728"/>
                  <a:gd name="connsiteX7" fmla="*/ 285567 w 285566"/>
                  <a:gd name="connsiteY7" fmla="*/ 202316 h 202728"/>
                  <a:gd name="connsiteX8" fmla="*/ 247402 w 285566"/>
                  <a:gd name="connsiteY8" fmla="*/ 202316 h 202728"/>
                  <a:gd name="connsiteX9" fmla="*/ 247402 w 285566"/>
                  <a:gd name="connsiteY9" fmla="*/ 87999 h 202728"/>
                  <a:gd name="connsiteX10" fmla="*/ 204679 w 285566"/>
                  <a:gd name="connsiteY10" fmla="*/ 36350 h 202728"/>
                  <a:gd name="connsiteX11" fmla="*/ 161956 w 285566"/>
                  <a:gd name="connsiteY11" fmla="*/ 88824 h 202728"/>
                  <a:gd name="connsiteX12" fmla="*/ 161956 w 285566"/>
                  <a:gd name="connsiteY12" fmla="*/ 202729 h 202728"/>
                  <a:gd name="connsiteX13" fmla="*/ 123791 w 285566"/>
                  <a:gd name="connsiteY13" fmla="*/ 202729 h 202728"/>
                  <a:gd name="connsiteX14" fmla="*/ 123791 w 285566"/>
                  <a:gd name="connsiteY14" fmla="*/ 88824 h 202728"/>
                  <a:gd name="connsiteX15" fmla="*/ 81068 w 285566"/>
                  <a:gd name="connsiteY15" fmla="*/ 36350 h 202728"/>
                  <a:gd name="connsiteX16" fmla="*/ 38345 w 285566"/>
                  <a:gd name="connsiteY16" fmla="*/ 87999 h 202728"/>
                  <a:gd name="connsiteX17" fmla="*/ 38345 w 285566"/>
                  <a:gd name="connsiteY17" fmla="*/ 202316 h 202728"/>
                  <a:gd name="connsiteX18" fmla="*/ 90 w 285566"/>
                  <a:gd name="connsiteY18" fmla="*/ 202316 h 202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566" h="202728">
                    <a:moveTo>
                      <a:pt x="0" y="202316"/>
                    </a:moveTo>
                    <a:lnTo>
                      <a:pt x="0" y="85068"/>
                    </a:lnTo>
                    <a:cubicBezTo>
                      <a:pt x="0" y="35525"/>
                      <a:pt x="31138" y="0"/>
                      <a:pt x="79698" y="0"/>
                    </a:cubicBezTo>
                    <a:cubicBezTo>
                      <a:pt x="118694" y="0"/>
                      <a:pt x="139438" y="26661"/>
                      <a:pt x="142379" y="36006"/>
                    </a:cubicBezTo>
                    <a:lnTo>
                      <a:pt x="143188" y="36006"/>
                    </a:lnTo>
                    <a:cubicBezTo>
                      <a:pt x="146084" y="26707"/>
                      <a:pt x="166828" y="0"/>
                      <a:pt x="205869" y="0"/>
                    </a:cubicBezTo>
                    <a:cubicBezTo>
                      <a:pt x="254428" y="0"/>
                      <a:pt x="285567" y="35548"/>
                      <a:pt x="285567" y="85068"/>
                    </a:cubicBezTo>
                    <a:lnTo>
                      <a:pt x="285567" y="202316"/>
                    </a:lnTo>
                    <a:lnTo>
                      <a:pt x="247402" y="202316"/>
                    </a:lnTo>
                    <a:lnTo>
                      <a:pt x="247402" y="87999"/>
                    </a:lnTo>
                    <a:cubicBezTo>
                      <a:pt x="247402" y="55818"/>
                      <a:pt x="233280" y="36350"/>
                      <a:pt x="204679" y="36350"/>
                    </a:cubicBezTo>
                    <a:cubicBezTo>
                      <a:pt x="176077" y="36350"/>
                      <a:pt x="161956" y="55818"/>
                      <a:pt x="161956" y="88824"/>
                    </a:cubicBezTo>
                    <a:lnTo>
                      <a:pt x="161956" y="202729"/>
                    </a:lnTo>
                    <a:lnTo>
                      <a:pt x="123791" y="202729"/>
                    </a:lnTo>
                    <a:lnTo>
                      <a:pt x="123791" y="88824"/>
                    </a:lnTo>
                    <a:cubicBezTo>
                      <a:pt x="123791" y="55818"/>
                      <a:pt x="109669" y="36350"/>
                      <a:pt x="81068" y="36350"/>
                    </a:cubicBezTo>
                    <a:cubicBezTo>
                      <a:pt x="52466" y="36350"/>
                      <a:pt x="38345" y="55818"/>
                      <a:pt x="38345" y="87999"/>
                    </a:cubicBezTo>
                    <a:lnTo>
                      <a:pt x="38345" y="202316"/>
                    </a:lnTo>
                    <a:lnTo>
                      <a:pt x="90" y="202316"/>
                    </a:lnTo>
                    <a:close/>
                  </a:path>
                </a:pathLst>
              </a:custGeom>
              <a:solidFill>
                <a:srgbClr val="FFFFFF"/>
              </a:solidFill>
              <a:ln w="2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040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E1EFF03-2B6D-DE21-5340-445DA0736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6500" y="1484463"/>
            <a:ext cx="9775825" cy="3655862"/>
          </a:xfrm>
        </p:spPr>
        <p:txBody>
          <a:bodyPr anchor="t">
            <a:noAutofit/>
          </a:bodyPr>
          <a:lstStyle>
            <a:lvl1pPr>
              <a:lnSpc>
                <a:spcPct val="87000"/>
              </a:lnSpc>
              <a:defRPr lang="en-US" sz="5500" b="0" i="0" kern="1200" dirty="0">
                <a:solidFill>
                  <a:schemeClr val="accent2"/>
                </a:solidFill>
                <a:effectLst/>
                <a:latin typeface="+mn-lt"/>
                <a:ea typeface="ES Build" pitchFamily="2" charset="77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6F084B1-AF97-1A4C-F7E6-96B3B93F93A8}"/>
              </a:ext>
            </a:extLst>
          </p:cNvPr>
          <p:cNvCxnSpPr>
            <a:cxnSpLocks/>
          </p:cNvCxnSpPr>
          <p:nvPr userDrawn="1"/>
        </p:nvCxnSpPr>
        <p:spPr>
          <a:xfrm>
            <a:off x="1206500" y="5308772"/>
            <a:ext cx="9775825" cy="0"/>
          </a:xfrm>
          <a:prstGeom prst="line">
            <a:avLst/>
          </a:prstGeom>
          <a:ln w="19050" cap="sq">
            <a:solidFill>
              <a:srgbClr val="8E71F4"/>
            </a:solidFill>
            <a:miter lim="800000"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ject 2">
            <a:extLst>
              <a:ext uri="{FF2B5EF4-FFF2-40B4-BE49-F238E27FC236}">
                <a16:creationId xmlns:a16="http://schemas.microsoft.com/office/drawing/2014/main" id="{37F595A5-0DF7-C3DE-1313-FCCFBFD328CF}"/>
              </a:ext>
            </a:extLst>
          </p:cNvPr>
          <p:cNvSpPr/>
          <p:nvPr userDrawn="1"/>
        </p:nvSpPr>
        <p:spPr>
          <a:xfrm>
            <a:off x="513513" y="843504"/>
            <a:ext cx="686638" cy="686636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402CC669-176C-2550-80B0-29B9C7809C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06499" y="5409780"/>
            <a:ext cx="9777413" cy="747931"/>
          </a:xfrm>
        </p:spPr>
        <p:txBody>
          <a:bodyPr>
            <a:noAutofit/>
          </a:bodyPr>
          <a:lstStyle>
            <a:lvl1pPr marL="0" indent="0" algn="l">
              <a:buNone/>
              <a:defRPr lang="en-US" sz="2400" b="0" i="0" kern="1200" dirty="0">
                <a:solidFill>
                  <a:srgbClr val="8E71F4"/>
                </a:solidFill>
                <a:latin typeface="+mn-lt"/>
                <a:ea typeface="ES Build" pitchFamily="2" charset="77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96000"/>
              </a:lnSpc>
              <a:spcBef>
                <a:spcPts val="90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tabLst/>
            </a:pPr>
            <a:r>
              <a:rPr lang="en-US"/>
              <a:t>Attribution</a:t>
            </a:r>
          </a:p>
        </p:txBody>
      </p:sp>
    </p:spTree>
    <p:extLst>
      <p:ext uri="{BB962C8B-B14F-4D97-AF65-F5344CB8AC3E}">
        <p14:creationId xmlns:p14="http://schemas.microsoft.com/office/powerpoint/2010/main" val="1376756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&amp;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E7B2A64-C4B7-C367-988A-AF7D9B55C4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10300" y="0"/>
            <a:ext cx="5981700" cy="6858000"/>
          </a:xfrm>
          <a:custGeom>
            <a:avLst/>
            <a:gdLst>
              <a:gd name="connsiteX0" fmla="*/ 0 w 5981700"/>
              <a:gd name="connsiteY0" fmla="*/ 0 h 6858000"/>
              <a:gd name="connsiteX1" fmla="*/ 5981700 w 5981700"/>
              <a:gd name="connsiteY1" fmla="*/ 0 h 6858000"/>
              <a:gd name="connsiteX2" fmla="*/ 5981700 w 5981700"/>
              <a:gd name="connsiteY2" fmla="*/ 6858000 h 6858000"/>
              <a:gd name="connsiteX3" fmla="*/ 868521 w 5981700"/>
              <a:gd name="connsiteY3" fmla="*/ 6858000 h 6858000"/>
              <a:gd name="connsiteX4" fmla="*/ 832220 w 5981700"/>
              <a:gd name="connsiteY4" fmla="*/ 6854460 h 6858000"/>
              <a:gd name="connsiteX5" fmla="*/ 628589 w 5981700"/>
              <a:gd name="connsiteY5" fmla="*/ 6746455 h 6858000"/>
              <a:gd name="connsiteX6" fmla="*/ 108122 w 5981700"/>
              <a:gd name="connsiteY6" fmla="*/ 6225987 h 6858000"/>
              <a:gd name="connsiteX7" fmla="*/ 21455 w 5981700"/>
              <a:gd name="connsiteY7" fmla="*/ 6095966 h 6858000"/>
              <a:gd name="connsiteX8" fmla="*/ 0 w 5981700"/>
              <a:gd name="connsiteY8" fmla="*/ 60250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1700" h="6858000">
                <a:moveTo>
                  <a:pt x="0" y="0"/>
                </a:moveTo>
                <a:lnTo>
                  <a:pt x="5981700" y="0"/>
                </a:lnTo>
                <a:lnTo>
                  <a:pt x="5981700" y="6858000"/>
                </a:lnTo>
                <a:lnTo>
                  <a:pt x="868521" y="6858000"/>
                </a:lnTo>
                <a:lnTo>
                  <a:pt x="832220" y="6854460"/>
                </a:lnTo>
                <a:cubicBezTo>
                  <a:pt x="755128" y="6839198"/>
                  <a:pt x="683798" y="6801663"/>
                  <a:pt x="628589" y="6746455"/>
                </a:cubicBezTo>
                <a:lnTo>
                  <a:pt x="108122" y="6225987"/>
                </a:lnTo>
                <a:cubicBezTo>
                  <a:pt x="70644" y="6188509"/>
                  <a:pt x="41357" y="6144201"/>
                  <a:pt x="21455" y="6095966"/>
                </a:cubicBezTo>
                <a:lnTo>
                  <a:pt x="0" y="602502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82880" tIns="182880" rIns="0" anchor="t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lease use Veeam approved images</a:t>
            </a:r>
          </a:p>
        </p:txBody>
      </p:sp>
      <p:sp>
        <p:nvSpPr>
          <p:cNvPr id="20" name="object 2">
            <a:extLst>
              <a:ext uri="{FF2B5EF4-FFF2-40B4-BE49-F238E27FC236}">
                <a16:creationId xmlns:a16="http://schemas.microsoft.com/office/drawing/2014/main" id="{58FA5FE2-5D7E-51F0-AF6A-A46282840665}"/>
              </a:ext>
            </a:extLst>
          </p:cNvPr>
          <p:cNvSpPr/>
          <p:nvPr userDrawn="1"/>
        </p:nvSpPr>
        <p:spPr>
          <a:xfrm>
            <a:off x="528239" y="1034733"/>
            <a:ext cx="468070" cy="468069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482577-7303-DB09-F554-CC530AA2B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257" y="1679120"/>
            <a:ext cx="4654906" cy="3118757"/>
          </a:xfrm>
        </p:spPr>
        <p:txBody>
          <a:bodyPr anchor="t"/>
          <a:lstStyle>
            <a:lvl1pPr>
              <a:lnSpc>
                <a:spcPct val="87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7A9E1AD-1EBF-6702-7F9A-782FC098DE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3258" y="5078194"/>
            <a:ext cx="4654906" cy="747931"/>
          </a:xfrm>
        </p:spPr>
        <p:txBody>
          <a:bodyPr/>
          <a:lstStyle>
            <a:lvl1pPr marL="0" indent="0" algn="l">
              <a:buNone/>
              <a:defRPr lang="en-US" sz="2400" b="0" i="0" kern="1200" dirty="0">
                <a:solidFill>
                  <a:srgbClr val="8E71F4"/>
                </a:solidFill>
                <a:latin typeface="+mn-lt"/>
                <a:ea typeface="ES Build" pitchFamily="2" charset="77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96000"/>
              </a:lnSpc>
              <a:spcBef>
                <a:spcPts val="90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tabLst/>
            </a:pPr>
            <a:r>
              <a:rPr lang="en-US" dirty="0"/>
              <a:t>Attrib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D509CB-B4E1-F410-E0F9-5870A7CBD72B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2369431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&amp; Pictur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ED376942-9122-FE26-7F33-37835C84C2A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10300" y="0"/>
            <a:ext cx="5981700" cy="6858000"/>
          </a:xfrm>
          <a:custGeom>
            <a:avLst/>
            <a:gdLst>
              <a:gd name="connsiteX0" fmla="*/ 0 w 5981700"/>
              <a:gd name="connsiteY0" fmla="*/ 0 h 6858000"/>
              <a:gd name="connsiteX1" fmla="*/ 5981700 w 5981700"/>
              <a:gd name="connsiteY1" fmla="*/ 0 h 6858000"/>
              <a:gd name="connsiteX2" fmla="*/ 5981700 w 5981700"/>
              <a:gd name="connsiteY2" fmla="*/ 6858000 h 6858000"/>
              <a:gd name="connsiteX3" fmla="*/ 868521 w 5981700"/>
              <a:gd name="connsiteY3" fmla="*/ 6858000 h 6858000"/>
              <a:gd name="connsiteX4" fmla="*/ 832220 w 5981700"/>
              <a:gd name="connsiteY4" fmla="*/ 6854460 h 6858000"/>
              <a:gd name="connsiteX5" fmla="*/ 628589 w 5981700"/>
              <a:gd name="connsiteY5" fmla="*/ 6746455 h 6858000"/>
              <a:gd name="connsiteX6" fmla="*/ 108122 w 5981700"/>
              <a:gd name="connsiteY6" fmla="*/ 6225987 h 6858000"/>
              <a:gd name="connsiteX7" fmla="*/ 21455 w 5981700"/>
              <a:gd name="connsiteY7" fmla="*/ 6095966 h 6858000"/>
              <a:gd name="connsiteX8" fmla="*/ 0 w 5981700"/>
              <a:gd name="connsiteY8" fmla="*/ 60250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81700" h="6858000">
                <a:moveTo>
                  <a:pt x="0" y="0"/>
                </a:moveTo>
                <a:lnTo>
                  <a:pt x="5981700" y="0"/>
                </a:lnTo>
                <a:lnTo>
                  <a:pt x="5981700" y="6858000"/>
                </a:lnTo>
                <a:lnTo>
                  <a:pt x="868521" y="6858000"/>
                </a:lnTo>
                <a:lnTo>
                  <a:pt x="832220" y="6854460"/>
                </a:lnTo>
                <a:cubicBezTo>
                  <a:pt x="755128" y="6839198"/>
                  <a:pt x="683798" y="6801663"/>
                  <a:pt x="628589" y="6746455"/>
                </a:cubicBezTo>
                <a:lnTo>
                  <a:pt x="108122" y="6225987"/>
                </a:lnTo>
                <a:cubicBezTo>
                  <a:pt x="70644" y="6188509"/>
                  <a:pt x="41357" y="6144201"/>
                  <a:pt x="21455" y="6095966"/>
                </a:cubicBezTo>
                <a:lnTo>
                  <a:pt x="0" y="602502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82880" tIns="182880" rIns="0" anchor="t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lease use Veeam approved images</a:t>
            </a:r>
          </a:p>
        </p:txBody>
      </p:sp>
      <p:sp>
        <p:nvSpPr>
          <p:cNvPr id="7" name="Footer Placeholder 66">
            <a:extLst>
              <a:ext uri="{FF2B5EF4-FFF2-40B4-BE49-F238E27FC236}">
                <a16:creationId xmlns:a16="http://schemas.microsoft.com/office/drawing/2014/main" id="{4417850A-FAA8-5D15-90BA-B41AB66836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08B0FC79-36B3-4D17-145A-3339EEABE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5124451" cy="682625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8FAE5B9-C92B-83C8-7E05-9FB6D50A28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5124451" cy="33899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39996B-E07D-D083-7A0F-B3C5FADF7F2D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17" name="Content Placeholder 18">
            <a:extLst>
              <a:ext uri="{FF2B5EF4-FFF2-40B4-BE49-F238E27FC236}">
                <a16:creationId xmlns:a16="http://schemas.microsoft.com/office/drawing/2014/main" id="{B4232086-16D8-AF74-93B5-C455E75888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1719645"/>
            <a:ext cx="5124452" cy="4449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19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plit Blac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D812B8-83BF-8AA5-9821-680835CFF50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03A6B59-1452-CCC2-312B-7DE441C696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9EAACDC-2482-B9F5-9931-3EE65A43C9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1A7B158-4678-4830-6566-C97CC666E4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FACF739-09AA-5B53-99CA-886DA84E7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232DA366-8FF0-29B7-554C-22164CC79C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Content Placeholder 18">
            <a:extLst>
              <a:ext uri="{FF2B5EF4-FFF2-40B4-BE49-F238E27FC236}">
                <a16:creationId xmlns:a16="http://schemas.microsoft.com/office/drawing/2014/main" id="{1F45315A-C967-E7DD-C442-6EA352332DD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1" name="Content Placeholder 18">
            <a:extLst>
              <a:ext uri="{FF2B5EF4-FFF2-40B4-BE49-F238E27FC236}">
                <a16:creationId xmlns:a16="http://schemas.microsoft.com/office/drawing/2014/main" id="{9ED4AEB4-9EA6-CDDB-5599-29834D25B7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0FC29F35-CB42-8207-EEB9-EB1395B3D5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9752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plit Blac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D812B8-83BF-8AA5-9821-680835CFF508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03A6B59-1452-CCC2-312B-7DE441C696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89EAACDC-2482-B9F5-9931-3EE65A43C9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1A7B158-4678-4830-6566-C97CC666E4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FACF739-09AA-5B53-99CA-886DA84E7C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232DA366-8FF0-29B7-554C-22164CC79C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Content Placeholder 18">
            <a:extLst>
              <a:ext uri="{FF2B5EF4-FFF2-40B4-BE49-F238E27FC236}">
                <a16:creationId xmlns:a16="http://schemas.microsoft.com/office/drawing/2014/main" id="{CE6B2438-60C2-843A-B95D-BA0BE15F2F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Content Placeholder 18">
            <a:extLst>
              <a:ext uri="{FF2B5EF4-FFF2-40B4-BE49-F238E27FC236}">
                <a16:creationId xmlns:a16="http://schemas.microsoft.com/office/drawing/2014/main" id="{C63D5B78-F4F6-C1E3-9303-A45D48E5F9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6F3BAF-0EF8-B827-F71A-69D9A9884016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1325107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Viridi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C868D3-3CB4-CA57-1298-79B08D03F8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14" y="579438"/>
            <a:ext cx="5113896" cy="792162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en-US" dirty="0"/>
              <a:t>Click to edit Master title styles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497F9D7-E2AC-7870-3158-7F4230738F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1BB7623-8B6B-7FAE-D44D-F4B85D496B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0EBF732-219E-4BB3-835A-6CCA099AC8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06EF6F84-75A1-3DAF-4249-ADE266B638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4188B8B1-28A5-575D-B156-85CA6779A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F7DB894A-EDB5-8F01-3414-F5F32559B7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5D37798F-2B52-F99B-1040-0FA9E34A0C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823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Viridi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C868D3-3CB4-CA57-1298-79B08D03F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497F9D7-E2AC-7870-3158-7F4230738F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ES Build (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1BB7623-8B6B-7FAE-D44D-F4B85D496B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0EBF732-219E-4BB3-835A-6CCA099AC8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06EF6F84-75A1-3DAF-4249-ADE266B638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Content Placeholder 18">
            <a:extLst>
              <a:ext uri="{FF2B5EF4-FFF2-40B4-BE49-F238E27FC236}">
                <a16:creationId xmlns:a16="http://schemas.microsoft.com/office/drawing/2014/main" id="{55F03A55-5898-6CE3-3BF1-81E0262A48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Placeholder 18">
            <a:extLst>
              <a:ext uri="{FF2B5EF4-FFF2-40B4-BE49-F238E27FC236}">
                <a16:creationId xmlns:a16="http://schemas.microsoft.com/office/drawing/2014/main" id="{3368A297-5329-BE3C-C5BC-AB8BA37237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D39121-E546-6ABA-63FC-510C53D4976E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40263634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k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12294CE-1368-BF63-28B5-C8EE4BCAF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830E2A7-C8EE-61A4-A592-4A9C6E3D0B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5BE395E-9385-3B06-C680-B8E8D2310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639A052-9E04-CDDA-0ACE-A40FF9BC5E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A64D20B8-8B2F-AAA6-BEBC-31122038D8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A6940E88-647A-45CE-8088-D6C7C35022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A3D652E3-FD2B-9AC7-6022-BD78A2BF0B5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59D6CA1-A7A3-FA76-75AD-90AB5AD34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487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k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12294CE-1368-BF63-28B5-C8EE4BCAF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830E2A7-C8EE-61A4-A592-4A9C6E3D0B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5BE395E-9385-3B06-C680-B8E8D2310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639A052-9E04-CDDA-0ACE-A40FF9BC5E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A64D20B8-8B2F-AAA6-BEBC-31122038D8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Content Placeholder 18">
            <a:extLst>
              <a:ext uri="{FF2B5EF4-FFF2-40B4-BE49-F238E27FC236}">
                <a16:creationId xmlns:a16="http://schemas.microsoft.com/office/drawing/2014/main" id="{6735DCC0-BDFA-E189-82A7-CEDFC1F7AF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Placeholder 18">
            <a:extLst>
              <a:ext uri="{FF2B5EF4-FFF2-40B4-BE49-F238E27FC236}">
                <a16:creationId xmlns:a16="http://schemas.microsoft.com/office/drawing/2014/main" id="{9B7562FB-A9B5-0AA2-8AF5-9DCE7D26D1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47BEF9-D57D-3F07-2F39-7F5470506193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30728987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Casi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8E71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491785-6F57-E13E-C4A7-A9AD6FFD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8B2789D-2F50-D72A-8229-CAE0C730F6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CBAEA92-7477-E04A-CD5D-6640297432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4E41C82-70F8-4AFF-FDEC-3AA38C0B79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7C55B1E5-0112-9125-02B5-998F8C45A1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FF37D647-62F1-024B-07D9-8DBAD2392F5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B7CB7762-181F-D4B2-7B20-F7D6955DC1B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B4B41DA-6D67-E315-71AF-0A1BDAD0D4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285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Viridis Gradi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een and white background&#10;&#10;Description automatically generated">
            <a:extLst>
              <a:ext uri="{FF2B5EF4-FFF2-40B4-BE49-F238E27FC236}">
                <a16:creationId xmlns:a16="http://schemas.microsoft.com/office/drawing/2014/main" id="{D9D8ABDB-B374-C08D-1423-39142E878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974"/>
            <a:ext cx="6094100" cy="68560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106D83-86C1-03BA-6A3C-29169056A5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9312" y="2467915"/>
            <a:ext cx="4430065" cy="1232645"/>
          </a:xfrm>
        </p:spPr>
        <p:txBody>
          <a:bodyPr wrap="square" anchor="ctr">
            <a:noAutofit/>
          </a:bodyPr>
          <a:lstStyle>
            <a:lvl1pPr algn="l">
              <a:defRPr sz="8900" spc="-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0C2672-616F-7E48-D192-190D79314B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2251" y="696686"/>
            <a:ext cx="5121312" cy="54646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87000"/>
              </a:lnSpc>
              <a:spcBef>
                <a:spcPts val="900"/>
              </a:spcBef>
              <a:spcAft>
                <a:spcPts val="900"/>
              </a:spcAft>
              <a:buClr>
                <a:srgbClr val="8E71F4"/>
              </a:buClr>
              <a:buFont typeface="ES Build Neutral" pitchFamily="50" charset="0"/>
              <a:buChar char="​"/>
              <a:defRPr sz="3400">
                <a:solidFill>
                  <a:schemeClr val="tx1"/>
                </a:solidFill>
              </a:defRPr>
            </a:lvl1pPr>
            <a:lvl2pPr marL="7938" indent="-7938"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  <a:lvl6pPr marL="27432" indent="0">
              <a:lnSpc>
                <a:spcPct val="67000"/>
              </a:lnSpc>
              <a:spcBef>
                <a:spcPts val="600"/>
              </a:spcBef>
              <a:spcAft>
                <a:spcPts val="0"/>
              </a:spcAft>
              <a:buFont typeface="ES Build Neutral" pitchFamily="50" charset="0"/>
              <a:buChar char="​"/>
              <a:tabLst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1500"/>
              </a:spcBef>
              <a:spcAft>
                <a:spcPts val="0"/>
              </a:spcAft>
              <a:defRPr sz="4400" spc="0" baseline="0">
                <a:solidFill>
                  <a:schemeClr val="tx1"/>
                </a:solidFill>
                <a:latin typeface="ES Build "/>
              </a:defRPr>
            </a:lvl7pPr>
            <a:lvl8pPr marL="27432">
              <a:spcBef>
                <a:spcPts val="0"/>
              </a:spcBef>
              <a:defRPr sz="1600" spc="0">
                <a:solidFill>
                  <a:srgbClr val="8E71F4"/>
                </a:solidFill>
                <a:latin typeface="+mn-lt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6"/>
            <a:r>
              <a:rPr lang="en-US" dirty="0"/>
              <a:t>Edit text</a:t>
            </a:r>
          </a:p>
          <a:p>
            <a:pPr lvl="7"/>
            <a:r>
              <a:rPr lang="en-US" dirty="0"/>
              <a:t>Edit text</a:t>
            </a:r>
          </a:p>
          <a:p>
            <a:pPr lvl="5"/>
            <a:r>
              <a:rPr lang="en-US" dirty="0"/>
              <a:t>Edit text</a:t>
            </a: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EC7EF173-7EEC-F83D-97C8-B7439C2204DB}"/>
              </a:ext>
            </a:extLst>
          </p:cNvPr>
          <p:cNvSpPr/>
          <p:nvPr userDrawn="1"/>
        </p:nvSpPr>
        <p:spPr>
          <a:xfrm>
            <a:off x="542689" y="2076112"/>
            <a:ext cx="543873" cy="543873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F39891-E607-D810-0433-4C2419FE8987}"/>
              </a:ext>
            </a:extLst>
          </p:cNvPr>
          <p:cNvSpPr txBox="1"/>
          <p:nvPr userDrawn="1"/>
        </p:nvSpPr>
        <p:spPr>
          <a:xfrm>
            <a:off x="524142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240710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Casi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8E71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491785-6F57-E13E-C4A7-A9AD6FFD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8B2789D-2F50-D72A-8229-CAE0C730F6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CBAEA92-7477-E04A-CD5D-6640297432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4E41C82-70F8-4AFF-FDEC-3AA38C0B79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7C55B1E5-0112-9125-02B5-998F8C45A1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54D21C-2C46-70F2-3FBF-97F25ECB8680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944D7E10-9F5C-BF3B-3354-EA8AE045538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FB92400D-2194-A0DD-85DB-36AE2DE042B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2074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Az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1EE247-A1E4-4614-0D9D-D5DECA825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4642B5E-8C94-17D3-F93F-3840B02EA8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007A138-C620-C216-81D8-D8E61813A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B80F05A-F7DA-DFAD-C0FF-D23A8B833D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88A25FED-7651-669D-F6ED-C0383FDEB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3BFB5233-0C22-0B42-D8D2-6EC2FC5A5C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3E912223-C3AF-9FB0-D854-017C99C1BD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868E0C3-9248-46A5-7BAC-9B844C083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6931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Az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51EE247-A1E4-4614-0D9D-D5DECA825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4642B5E-8C94-17D3-F93F-3840B02EA8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007A138-C620-C216-81D8-D8E61813A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B80F05A-F7DA-DFAD-C0FF-D23A8B833D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88A25FED-7651-669D-F6ED-C0383FDEB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F46438-8E5E-DFE3-3C05-0A1AC859EA83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5" name="Content Placeholder 18">
            <a:extLst>
              <a:ext uri="{FF2B5EF4-FFF2-40B4-BE49-F238E27FC236}">
                <a16:creationId xmlns:a16="http://schemas.microsoft.com/office/drawing/2014/main" id="{F1A84BF6-1144-9AFE-8821-5567440B699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Content Placeholder 18">
            <a:extLst>
              <a:ext uri="{FF2B5EF4-FFF2-40B4-BE49-F238E27FC236}">
                <a16:creationId xmlns:a16="http://schemas.microsoft.com/office/drawing/2014/main" id="{A57C34FA-03D8-9FC3-57CF-2277DD6AE7B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9616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um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FE8A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C5401A7-BDA4-8691-C3F9-CA6F37E09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75A9DCD-B172-E190-883C-626D625305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ES Build 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FCDD184-4728-83E7-FD45-4DB26B8D64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D93CB58-DA98-333A-2500-74FD22733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C872DE19-6B88-23B3-CF4E-B7B3159A2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799C9AA4-BD54-B89F-8562-AACE0277387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3A2B3987-EA85-C344-EC96-FE44906679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8899D05-44B5-BD20-0E90-F4389A7A5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5089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um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FE8A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C5401A7-BDA4-8691-C3F9-CA6F37E09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75A9DCD-B172-E190-883C-626D625305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FCDD184-4728-83E7-FD45-4DB26B8D64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7D93CB58-DA98-333A-2500-74FD22733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Footer Placeholder 66">
            <a:extLst>
              <a:ext uri="{FF2B5EF4-FFF2-40B4-BE49-F238E27FC236}">
                <a16:creationId xmlns:a16="http://schemas.microsoft.com/office/drawing/2014/main" id="{C872DE19-6B88-23B3-CF4E-B7B3159A2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ACA3ED-5988-CB18-29BE-7049693A094C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3" name="Content Placeholder 18">
            <a:extLst>
              <a:ext uri="{FF2B5EF4-FFF2-40B4-BE49-F238E27FC236}">
                <a16:creationId xmlns:a16="http://schemas.microsoft.com/office/drawing/2014/main" id="{44972636-A842-A90B-EFCC-98E36F84E3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18">
            <a:extLst>
              <a:ext uri="{FF2B5EF4-FFF2-40B4-BE49-F238E27FC236}">
                <a16:creationId xmlns:a16="http://schemas.microsoft.com/office/drawing/2014/main" id="{16BD2A60-D1B7-3B9C-4615-69657D0FC4A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7543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FFD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9929713-92BF-C5AE-255B-E700DC18B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20AE283-D579-E34E-7789-64765852C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13D57F8-6390-CDE9-60EB-FC8B8483A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F517ECE-082F-3056-AFD9-60411B053E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ooter Placeholder 66">
            <a:extLst>
              <a:ext uri="{FF2B5EF4-FFF2-40B4-BE49-F238E27FC236}">
                <a16:creationId xmlns:a16="http://schemas.microsoft.com/office/drawing/2014/main" id="{7072184A-0627-5E87-1FC2-7D37EE5AD4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3B320906-55E2-D76D-6628-39A846DD060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4E339EF2-FA4D-9028-CABB-32DEB12B33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D0E5E60-1762-2EA0-94BA-D40F05FFAE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6810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o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rgbClr val="FFD8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9929713-92BF-C5AE-255B-E700DC18B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4" y="579438"/>
            <a:ext cx="5113896" cy="792162"/>
          </a:xfrm>
        </p:spPr>
        <p:txBody>
          <a:bodyPr anchor="t">
            <a:noAutofit/>
          </a:bodyPr>
          <a:lstStyle>
            <a:lvl1pPr>
              <a:lnSpc>
                <a:spcPct val="85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20AE283-D579-E34E-7789-64765852C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2250" y="1382889"/>
            <a:ext cx="5126366" cy="336374"/>
          </a:xfrm>
        </p:spPr>
        <p:txBody>
          <a:bodyPr anchor="t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13D57F8-6390-CDE9-60EB-FC8B8483A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4" y="1371600"/>
            <a:ext cx="5113896" cy="347663"/>
          </a:xfrm>
        </p:spPr>
        <p:txBody>
          <a:bodyPr anchor="t">
            <a:noAutofit/>
          </a:bodyPr>
          <a:lstStyle>
            <a:lvl1pPr marL="0" indent="0" algn="l">
              <a:buNone/>
              <a:defRPr sz="21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F517ECE-082F-3056-AFD9-60411B053E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t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Footer Placeholder 66">
            <a:extLst>
              <a:ext uri="{FF2B5EF4-FFF2-40B4-BE49-F238E27FC236}">
                <a16:creationId xmlns:a16="http://schemas.microsoft.com/office/drawing/2014/main" id="{7072184A-0627-5E87-1FC2-7D37EE5AD4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EB71E7-1179-EC2C-43ED-992A6AA2C284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accent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D8EA5D3A-7B2B-487A-59C0-D47866C30F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CD918205-7518-ABBB-E53E-287EB7C712C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6666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ac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609600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9929713-92BF-C5AE-255B-E700DC18B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3" y="579438"/>
            <a:ext cx="5113896" cy="792162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20AE283-D579-E34E-7789-64765852C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67257" y="1382889"/>
            <a:ext cx="5131359" cy="336374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13D57F8-6390-CDE9-60EB-FC8B8483A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2" y="1371600"/>
            <a:ext cx="5113897" cy="34766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F517ECE-082F-3056-AFD9-60411B053E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C84DD61B-4070-C209-5ED2-587D11C44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030F02E5-3A21-1A0B-347D-813FEE3EE26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D3E8E79D-E1D3-984B-5618-5734B3FFD59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7C4BAFF-333F-7E42-7723-267CF24F5150}"/>
              </a:ext>
            </a:extLst>
          </p:cNvPr>
          <p:cNvSpPr/>
          <p:nvPr/>
        </p:nvSpPr>
        <p:spPr>
          <a:xfrm>
            <a:off x="11180146" y="6513177"/>
            <a:ext cx="516913" cy="156999"/>
          </a:xfrm>
          <a:custGeom>
            <a:avLst/>
            <a:gdLst>
              <a:gd name="connsiteX0" fmla="*/ 0 w 516913"/>
              <a:gd name="connsiteY0" fmla="*/ 156999 h 156999"/>
              <a:gd name="connsiteX1" fmla="*/ 0 w 516913"/>
              <a:gd name="connsiteY1" fmla="*/ 44765 h 156999"/>
              <a:gd name="connsiteX2" fmla="*/ 5423 w 516913"/>
              <a:gd name="connsiteY2" fmla="*/ 31671 h 156999"/>
              <a:gd name="connsiteX3" fmla="*/ 31671 w 516913"/>
              <a:gd name="connsiteY3" fmla="*/ 5423 h 156999"/>
              <a:gd name="connsiteX4" fmla="*/ 44765 w 516913"/>
              <a:gd name="connsiteY4" fmla="*/ 0 h 156999"/>
              <a:gd name="connsiteX5" fmla="*/ 516913 w 516913"/>
              <a:gd name="connsiteY5" fmla="*/ 0 h 156999"/>
              <a:gd name="connsiteX6" fmla="*/ 516896 w 516913"/>
              <a:gd name="connsiteY6" fmla="*/ 112251 h 156999"/>
              <a:gd name="connsiteX7" fmla="*/ 511473 w 516913"/>
              <a:gd name="connsiteY7" fmla="*/ 125345 h 156999"/>
              <a:gd name="connsiteX8" fmla="*/ 485517 w 516913"/>
              <a:gd name="connsiteY8" fmla="*/ 151302 h 156999"/>
              <a:gd name="connsiteX9" fmla="*/ 472423 w 516913"/>
              <a:gd name="connsiteY9" fmla="*/ 156725 h 156999"/>
              <a:gd name="connsiteX10" fmla="*/ 0 w 516913"/>
              <a:gd name="connsiteY10" fmla="*/ 156999 h 156999"/>
              <a:gd name="connsiteX11" fmla="*/ 44765 w 516913"/>
              <a:gd name="connsiteY11" fmla="*/ 2403 h 156999"/>
              <a:gd name="connsiteX12" fmla="*/ 33370 w 516913"/>
              <a:gd name="connsiteY12" fmla="*/ 7122 h 156999"/>
              <a:gd name="connsiteX13" fmla="*/ 7122 w 516913"/>
              <a:gd name="connsiteY13" fmla="*/ 33370 h 156999"/>
              <a:gd name="connsiteX14" fmla="*/ 2403 w 516913"/>
              <a:gd name="connsiteY14" fmla="*/ 44765 h 156999"/>
              <a:gd name="connsiteX15" fmla="*/ 2403 w 516913"/>
              <a:gd name="connsiteY15" fmla="*/ 154597 h 156999"/>
              <a:gd name="connsiteX16" fmla="*/ 472423 w 516913"/>
              <a:gd name="connsiteY16" fmla="*/ 154322 h 156999"/>
              <a:gd name="connsiteX17" fmla="*/ 483818 w 516913"/>
              <a:gd name="connsiteY17" fmla="*/ 149603 h 156999"/>
              <a:gd name="connsiteX18" fmla="*/ 509774 w 516913"/>
              <a:gd name="connsiteY18" fmla="*/ 123646 h 156999"/>
              <a:gd name="connsiteX19" fmla="*/ 514494 w 516913"/>
              <a:gd name="connsiteY19" fmla="*/ 112251 h 156999"/>
              <a:gd name="connsiteX20" fmla="*/ 514511 w 516913"/>
              <a:gd name="connsiteY20" fmla="*/ 2403 h 156999"/>
              <a:gd name="connsiteX21" fmla="*/ 44765 w 516913"/>
              <a:gd name="connsiteY21" fmla="*/ 2403 h 15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16913" h="156999">
                <a:moveTo>
                  <a:pt x="0" y="156999"/>
                </a:moveTo>
                <a:lnTo>
                  <a:pt x="0" y="44765"/>
                </a:lnTo>
                <a:cubicBezTo>
                  <a:pt x="0" y="39891"/>
                  <a:pt x="1974" y="35120"/>
                  <a:pt x="5423" y="31671"/>
                </a:cubicBezTo>
                <a:lnTo>
                  <a:pt x="31671" y="5423"/>
                </a:lnTo>
                <a:cubicBezTo>
                  <a:pt x="35120" y="1974"/>
                  <a:pt x="39891" y="0"/>
                  <a:pt x="44765" y="0"/>
                </a:cubicBezTo>
                <a:lnTo>
                  <a:pt x="516913" y="0"/>
                </a:lnTo>
                <a:lnTo>
                  <a:pt x="516896" y="112251"/>
                </a:lnTo>
                <a:cubicBezTo>
                  <a:pt x="516896" y="117125"/>
                  <a:pt x="514923" y="121905"/>
                  <a:pt x="511473" y="125345"/>
                </a:cubicBezTo>
                <a:lnTo>
                  <a:pt x="485517" y="151302"/>
                </a:lnTo>
                <a:cubicBezTo>
                  <a:pt x="482068" y="154751"/>
                  <a:pt x="477297" y="156725"/>
                  <a:pt x="472423" y="156725"/>
                </a:cubicBezTo>
                <a:lnTo>
                  <a:pt x="0" y="156999"/>
                </a:lnTo>
                <a:close/>
                <a:moveTo>
                  <a:pt x="44765" y="2403"/>
                </a:moveTo>
                <a:cubicBezTo>
                  <a:pt x="40518" y="2403"/>
                  <a:pt x="36365" y="4119"/>
                  <a:pt x="33370" y="7122"/>
                </a:cubicBezTo>
                <a:lnTo>
                  <a:pt x="7122" y="33370"/>
                </a:lnTo>
                <a:cubicBezTo>
                  <a:pt x="4119" y="36373"/>
                  <a:pt x="2403" y="40526"/>
                  <a:pt x="2403" y="44765"/>
                </a:cubicBezTo>
                <a:lnTo>
                  <a:pt x="2403" y="154597"/>
                </a:lnTo>
                <a:lnTo>
                  <a:pt x="472423" y="154322"/>
                </a:lnTo>
                <a:cubicBezTo>
                  <a:pt x="476670" y="154322"/>
                  <a:pt x="480823" y="152606"/>
                  <a:pt x="483818" y="149603"/>
                </a:cubicBezTo>
                <a:lnTo>
                  <a:pt x="509774" y="123646"/>
                </a:lnTo>
                <a:cubicBezTo>
                  <a:pt x="512778" y="120643"/>
                  <a:pt x="514494" y="116490"/>
                  <a:pt x="514494" y="112251"/>
                </a:cubicBezTo>
                <a:lnTo>
                  <a:pt x="514511" y="2403"/>
                </a:lnTo>
                <a:lnTo>
                  <a:pt x="44765" y="2403"/>
                </a:lnTo>
                <a:close/>
              </a:path>
            </a:pathLst>
          </a:custGeom>
          <a:solidFill>
            <a:srgbClr val="FFFFFF"/>
          </a:solidFill>
          <a:ln w="85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4C45999-51C5-AFB7-459F-1EE998FDE39E}"/>
              </a:ext>
            </a:extLst>
          </p:cNvPr>
          <p:cNvSpPr/>
          <p:nvPr/>
        </p:nvSpPr>
        <p:spPr>
          <a:xfrm>
            <a:off x="11181484" y="6514378"/>
            <a:ext cx="385930" cy="154714"/>
          </a:xfrm>
          <a:custGeom>
            <a:avLst/>
            <a:gdLst>
              <a:gd name="connsiteX0" fmla="*/ 0 w 385930"/>
              <a:gd name="connsiteY0" fmla="*/ 58588 h 154714"/>
              <a:gd name="connsiteX1" fmla="*/ 0 w 385930"/>
              <a:gd name="connsiteY1" fmla="*/ 154605 h 154714"/>
              <a:gd name="connsiteX2" fmla="*/ 172282 w 385930"/>
              <a:gd name="connsiteY2" fmla="*/ 154605 h 154714"/>
              <a:gd name="connsiteX3" fmla="*/ 207016 w 385930"/>
              <a:gd name="connsiteY3" fmla="*/ 152143 h 154714"/>
              <a:gd name="connsiteX4" fmla="*/ 272349 w 385930"/>
              <a:gd name="connsiteY4" fmla="*/ 113358 h 154714"/>
              <a:gd name="connsiteX5" fmla="*/ 385930 w 385930"/>
              <a:gd name="connsiteY5" fmla="*/ 0 h 154714"/>
              <a:gd name="connsiteX6" fmla="*/ 214009 w 385930"/>
              <a:gd name="connsiteY6" fmla="*/ 17 h 154714"/>
              <a:gd name="connsiteX7" fmla="*/ 95579 w 385930"/>
              <a:gd name="connsiteY7" fmla="*/ 117966 h 154714"/>
              <a:gd name="connsiteX8" fmla="*/ 78676 w 385930"/>
              <a:gd name="connsiteY8" fmla="*/ 126452 h 154714"/>
              <a:gd name="connsiteX9" fmla="*/ 63445 w 385930"/>
              <a:gd name="connsiteY9" fmla="*/ 121364 h 154714"/>
              <a:gd name="connsiteX10" fmla="*/ 0 w 385930"/>
              <a:gd name="connsiteY10" fmla="*/ 58588 h 15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85930" h="154714">
                <a:moveTo>
                  <a:pt x="0" y="58588"/>
                </a:moveTo>
                <a:lnTo>
                  <a:pt x="0" y="154605"/>
                </a:lnTo>
                <a:lnTo>
                  <a:pt x="172282" y="154605"/>
                </a:lnTo>
                <a:cubicBezTo>
                  <a:pt x="172282" y="154605"/>
                  <a:pt x="191820" y="155506"/>
                  <a:pt x="207016" y="152143"/>
                </a:cubicBezTo>
                <a:cubicBezTo>
                  <a:pt x="234937" y="145965"/>
                  <a:pt x="251566" y="134141"/>
                  <a:pt x="272349" y="113358"/>
                </a:cubicBezTo>
                <a:cubicBezTo>
                  <a:pt x="307409" y="78281"/>
                  <a:pt x="385930" y="0"/>
                  <a:pt x="385930" y="0"/>
                </a:cubicBezTo>
                <a:lnTo>
                  <a:pt x="214009" y="17"/>
                </a:lnTo>
                <a:lnTo>
                  <a:pt x="95579" y="117966"/>
                </a:lnTo>
                <a:cubicBezTo>
                  <a:pt x="95579" y="117966"/>
                  <a:pt x="88458" y="126555"/>
                  <a:pt x="78676" y="126452"/>
                </a:cubicBezTo>
                <a:cubicBezTo>
                  <a:pt x="68053" y="126332"/>
                  <a:pt x="63445" y="121364"/>
                  <a:pt x="63445" y="121364"/>
                </a:cubicBezTo>
                <a:lnTo>
                  <a:pt x="0" y="58588"/>
                </a:lnTo>
                <a:close/>
              </a:path>
            </a:pathLst>
          </a:custGeom>
          <a:solidFill>
            <a:srgbClr val="FFFFFF">
              <a:alpha val="25000"/>
            </a:srgbClr>
          </a:solidFill>
          <a:ln w="85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9" name="Graphic 13">
            <a:extLst>
              <a:ext uri="{FF2B5EF4-FFF2-40B4-BE49-F238E27FC236}">
                <a16:creationId xmlns:a16="http://schemas.microsoft.com/office/drawing/2014/main" id="{67F2EDC4-FCD4-1D23-EB68-2CB16F424738}"/>
              </a:ext>
            </a:extLst>
          </p:cNvPr>
          <p:cNvGrpSpPr/>
          <p:nvPr/>
        </p:nvGrpSpPr>
        <p:grpSpPr>
          <a:xfrm>
            <a:off x="11217977" y="6552879"/>
            <a:ext cx="432093" cy="77405"/>
            <a:chOff x="11217977" y="6552879"/>
            <a:chExt cx="432093" cy="77405"/>
          </a:xfrm>
          <a:solidFill>
            <a:srgbClr val="FFFFFF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7F6395B-FAED-8B44-547F-01E1E3E8DE01}"/>
                </a:ext>
              </a:extLst>
            </p:cNvPr>
            <p:cNvSpPr/>
            <p:nvPr/>
          </p:nvSpPr>
          <p:spPr>
            <a:xfrm>
              <a:off x="11217977" y="6554492"/>
              <a:ext cx="84553" cy="74230"/>
            </a:xfrm>
            <a:custGeom>
              <a:avLst/>
              <a:gdLst>
                <a:gd name="connsiteX0" fmla="*/ 35549 w 84553"/>
                <a:gd name="connsiteY0" fmla="*/ 74231 h 74230"/>
                <a:gd name="connsiteX1" fmla="*/ 0 w 84553"/>
                <a:gd name="connsiteY1" fmla="*/ 0 h 74230"/>
                <a:gd name="connsiteX2" fmla="*/ 16020 w 84553"/>
                <a:gd name="connsiteY2" fmla="*/ 0 h 74230"/>
                <a:gd name="connsiteX3" fmla="*/ 42045 w 84553"/>
                <a:gd name="connsiteY3" fmla="*/ 55825 h 74230"/>
                <a:gd name="connsiteX4" fmla="*/ 42354 w 84553"/>
                <a:gd name="connsiteY4" fmla="*/ 55825 h 74230"/>
                <a:gd name="connsiteX5" fmla="*/ 68379 w 84553"/>
                <a:gd name="connsiteY5" fmla="*/ 0 h 74230"/>
                <a:gd name="connsiteX6" fmla="*/ 84553 w 84553"/>
                <a:gd name="connsiteY6" fmla="*/ 0 h 74230"/>
                <a:gd name="connsiteX7" fmla="*/ 49004 w 84553"/>
                <a:gd name="connsiteY7" fmla="*/ 74231 h 74230"/>
                <a:gd name="connsiteX8" fmla="*/ 35532 w 84553"/>
                <a:gd name="connsiteY8" fmla="*/ 74231 h 7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4553" h="74230">
                  <a:moveTo>
                    <a:pt x="35549" y="74231"/>
                  </a:moveTo>
                  <a:lnTo>
                    <a:pt x="0" y="0"/>
                  </a:lnTo>
                  <a:lnTo>
                    <a:pt x="16020" y="0"/>
                  </a:lnTo>
                  <a:cubicBezTo>
                    <a:pt x="16020" y="0"/>
                    <a:pt x="41427" y="53140"/>
                    <a:pt x="42045" y="55825"/>
                  </a:cubicBezTo>
                  <a:lnTo>
                    <a:pt x="42354" y="55825"/>
                  </a:lnTo>
                  <a:cubicBezTo>
                    <a:pt x="42989" y="53131"/>
                    <a:pt x="68379" y="0"/>
                    <a:pt x="68379" y="0"/>
                  </a:cubicBezTo>
                  <a:lnTo>
                    <a:pt x="84553" y="0"/>
                  </a:lnTo>
                  <a:lnTo>
                    <a:pt x="49004" y="74231"/>
                  </a:lnTo>
                  <a:lnTo>
                    <a:pt x="35532" y="74231"/>
                  </a:lnTo>
                  <a:close/>
                </a:path>
              </a:pathLst>
            </a:custGeom>
            <a:solidFill>
              <a:srgbClr val="FFFFFF"/>
            </a:solidFill>
            <a:ln w="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50CB50-2E0F-D927-83CC-3D3AAF4D0EB5}"/>
                </a:ext>
              </a:extLst>
            </p:cNvPr>
            <p:cNvSpPr/>
            <p:nvPr/>
          </p:nvSpPr>
          <p:spPr>
            <a:xfrm>
              <a:off x="11298755" y="6552879"/>
              <a:ext cx="72960" cy="77397"/>
            </a:xfrm>
            <a:custGeom>
              <a:avLst/>
              <a:gdLst>
                <a:gd name="connsiteX0" fmla="*/ 72635 w 72960"/>
                <a:gd name="connsiteY0" fmla="*/ 44422 h 77397"/>
                <a:gd name="connsiteX1" fmla="*/ 15068 w 72960"/>
                <a:gd name="connsiteY1" fmla="*/ 44422 h 77397"/>
                <a:gd name="connsiteX2" fmla="*/ 37437 w 72960"/>
                <a:gd name="connsiteY2" fmla="*/ 64080 h 77397"/>
                <a:gd name="connsiteX3" fmla="*/ 56152 w 72960"/>
                <a:gd name="connsiteY3" fmla="*/ 53612 h 77397"/>
                <a:gd name="connsiteX4" fmla="*/ 71056 w 72960"/>
                <a:gd name="connsiteY4" fmla="*/ 53612 h 77397"/>
                <a:gd name="connsiteX5" fmla="*/ 37429 w 72960"/>
                <a:gd name="connsiteY5" fmla="*/ 77397 h 77397"/>
                <a:gd name="connsiteX6" fmla="*/ 0 w 72960"/>
                <a:gd name="connsiteY6" fmla="*/ 38699 h 77397"/>
                <a:gd name="connsiteX7" fmla="*/ 37429 w 72960"/>
                <a:gd name="connsiteY7" fmla="*/ 0 h 77397"/>
                <a:gd name="connsiteX8" fmla="*/ 72961 w 72960"/>
                <a:gd name="connsiteY8" fmla="*/ 38699 h 77397"/>
                <a:gd name="connsiteX9" fmla="*/ 72652 w 72960"/>
                <a:gd name="connsiteY9" fmla="*/ 44422 h 77397"/>
                <a:gd name="connsiteX10" fmla="*/ 15222 w 72960"/>
                <a:gd name="connsiteY10" fmla="*/ 32366 h 77397"/>
                <a:gd name="connsiteX11" fmla="*/ 57893 w 72960"/>
                <a:gd name="connsiteY11" fmla="*/ 32366 h 77397"/>
                <a:gd name="connsiteX12" fmla="*/ 37437 w 72960"/>
                <a:gd name="connsiteY12" fmla="*/ 13343 h 77397"/>
                <a:gd name="connsiteX13" fmla="*/ 15222 w 72960"/>
                <a:gd name="connsiteY13" fmla="*/ 32366 h 7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960" h="77397">
                  <a:moveTo>
                    <a:pt x="72635" y="44422"/>
                  </a:moveTo>
                  <a:lnTo>
                    <a:pt x="15068" y="44422"/>
                  </a:lnTo>
                  <a:cubicBezTo>
                    <a:pt x="17135" y="56478"/>
                    <a:pt x="25999" y="64080"/>
                    <a:pt x="37437" y="64080"/>
                  </a:cubicBezTo>
                  <a:cubicBezTo>
                    <a:pt x="46799" y="64080"/>
                    <a:pt x="52977" y="60425"/>
                    <a:pt x="56152" y="53612"/>
                  </a:cubicBezTo>
                  <a:lnTo>
                    <a:pt x="71056" y="53612"/>
                  </a:lnTo>
                  <a:cubicBezTo>
                    <a:pt x="66603" y="67718"/>
                    <a:pt x="53775" y="77397"/>
                    <a:pt x="37429" y="77397"/>
                  </a:cubicBezTo>
                  <a:cubicBezTo>
                    <a:pt x="15857" y="77397"/>
                    <a:pt x="0" y="61703"/>
                    <a:pt x="0" y="38699"/>
                  </a:cubicBezTo>
                  <a:cubicBezTo>
                    <a:pt x="0" y="15694"/>
                    <a:pt x="15539" y="0"/>
                    <a:pt x="37429" y="0"/>
                  </a:cubicBezTo>
                  <a:cubicBezTo>
                    <a:pt x="56932" y="0"/>
                    <a:pt x="72961" y="16664"/>
                    <a:pt x="72961" y="38699"/>
                  </a:cubicBezTo>
                  <a:cubicBezTo>
                    <a:pt x="72961" y="40921"/>
                    <a:pt x="72961" y="42199"/>
                    <a:pt x="72652" y="44422"/>
                  </a:cubicBezTo>
                  <a:close/>
                  <a:moveTo>
                    <a:pt x="15222" y="32366"/>
                  </a:moveTo>
                  <a:lnTo>
                    <a:pt x="57893" y="32366"/>
                  </a:lnTo>
                  <a:cubicBezTo>
                    <a:pt x="56941" y="22207"/>
                    <a:pt x="48704" y="13343"/>
                    <a:pt x="37437" y="13343"/>
                  </a:cubicBezTo>
                  <a:cubicBezTo>
                    <a:pt x="25999" y="13326"/>
                    <a:pt x="17427" y="20791"/>
                    <a:pt x="15222" y="32366"/>
                  </a:cubicBezTo>
                  <a:close/>
                </a:path>
              </a:pathLst>
            </a:custGeom>
            <a:solidFill>
              <a:srgbClr val="FFFFFF"/>
            </a:solidFill>
            <a:ln w="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DAB4271-616D-B208-A85C-D14751FE8063}"/>
                </a:ext>
              </a:extLst>
            </p:cNvPr>
            <p:cNvSpPr/>
            <p:nvPr/>
          </p:nvSpPr>
          <p:spPr>
            <a:xfrm>
              <a:off x="11377723" y="6552879"/>
              <a:ext cx="72960" cy="77397"/>
            </a:xfrm>
            <a:custGeom>
              <a:avLst/>
              <a:gdLst>
                <a:gd name="connsiteX0" fmla="*/ 72635 w 72960"/>
                <a:gd name="connsiteY0" fmla="*/ 44422 h 77397"/>
                <a:gd name="connsiteX1" fmla="*/ 15068 w 72960"/>
                <a:gd name="connsiteY1" fmla="*/ 44422 h 77397"/>
                <a:gd name="connsiteX2" fmla="*/ 37437 w 72960"/>
                <a:gd name="connsiteY2" fmla="*/ 64080 h 77397"/>
                <a:gd name="connsiteX3" fmla="*/ 56152 w 72960"/>
                <a:gd name="connsiteY3" fmla="*/ 53612 h 77397"/>
                <a:gd name="connsiteX4" fmla="*/ 71056 w 72960"/>
                <a:gd name="connsiteY4" fmla="*/ 53612 h 77397"/>
                <a:gd name="connsiteX5" fmla="*/ 37429 w 72960"/>
                <a:gd name="connsiteY5" fmla="*/ 77397 h 77397"/>
                <a:gd name="connsiteX6" fmla="*/ 0 w 72960"/>
                <a:gd name="connsiteY6" fmla="*/ 38699 h 77397"/>
                <a:gd name="connsiteX7" fmla="*/ 37429 w 72960"/>
                <a:gd name="connsiteY7" fmla="*/ 0 h 77397"/>
                <a:gd name="connsiteX8" fmla="*/ 72961 w 72960"/>
                <a:gd name="connsiteY8" fmla="*/ 38699 h 77397"/>
                <a:gd name="connsiteX9" fmla="*/ 72652 w 72960"/>
                <a:gd name="connsiteY9" fmla="*/ 44422 h 77397"/>
                <a:gd name="connsiteX10" fmla="*/ 15222 w 72960"/>
                <a:gd name="connsiteY10" fmla="*/ 32366 h 77397"/>
                <a:gd name="connsiteX11" fmla="*/ 57893 w 72960"/>
                <a:gd name="connsiteY11" fmla="*/ 32366 h 77397"/>
                <a:gd name="connsiteX12" fmla="*/ 37437 w 72960"/>
                <a:gd name="connsiteY12" fmla="*/ 13343 h 77397"/>
                <a:gd name="connsiteX13" fmla="*/ 15222 w 72960"/>
                <a:gd name="connsiteY13" fmla="*/ 32366 h 7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960" h="77397">
                  <a:moveTo>
                    <a:pt x="72635" y="44422"/>
                  </a:moveTo>
                  <a:lnTo>
                    <a:pt x="15068" y="44422"/>
                  </a:lnTo>
                  <a:cubicBezTo>
                    <a:pt x="17135" y="56478"/>
                    <a:pt x="25999" y="64080"/>
                    <a:pt x="37437" y="64080"/>
                  </a:cubicBezTo>
                  <a:cubicBezTo>
                    <a:pt x="46799" y="64080"/>
                    <a:pt x="52977" y="60425"/>
                    <a:pt x="56152" y="53612"/>
                  </a:cubicBezTo>
                  <a:lnTo>
                    <a:pt x="71056" y="53612"/>
                  </a:lnTo>
                  <a:cubicBezTo>
                    <a:pt x="66603" y="67718"/>
                    <a:pt x="53775" y="77397"/>
                    <a:pt x="37429" y="77397"/>
                  </a:cubicBezTo>
                  <a:cubicBezTo>
                    <a:pt x="15857" y="77397"/>
                    <a:pt x="0" y="61703"/>
                    <a:pt x="0" y="38699"/>
                  </a:cubicBezTo>
                  <a:cubicBezTo>
                    <a:pt x="0" y="15694"/>
                    <a:pt x="15539" y="0"/>
                    <a:pt x="37429" y="0"/>
                  </a:cubicBezTo>
                  <a:cubicBezTo>
                    <a:pt x="56932" y="0"/>
                    <a:pt x="72961" y="16664"/>
                    <a:pt x="72961" y="38699"/>
                  </a:cubicBezTo>
                  <a:cubicBezTo>
                    <a:pt x="72961" y="40921"/>
                    <a:pt x="72961" y="42199"/>
                    <a:pt x="72652" y="44422"/>
                  </a:cubicBezTo>
                  <a:close/>
                  <a:moveTo>
                    <a:pt x="15222" y="32366"/>
                  </a:moveTo>
                  <a:lnTo>
                    <a:pt x="57893" y="32366"/>
                  </a:lnTo>
                  <a:cubicBezTo>
                    <a:pt x="56941" y="22207"/>
                    <a:pt x="48704" y="13343"/>
                    <a:pt x="37437" y="13343"/>
                  </a:cubicBezTo>
                  <a:cubicBezTo>
                    <a:pt x="25999" y="13326"/>
                    <a:pt x="17444" y="20791"/>
                    <a:pt x="15222" y="32366"/>
                  </a:cubicBezTo>
                  <a:close/>
                </a:path>
              </a:pathLst>
            </a:custGeom>
            <a:solidFill>
              <a:srgbClr val="FFFFFF"/>
            </a:solidFill>
            <a:ln w="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0B5B143-F251-2BE9-F6F9-ABB0BB0CC29B}"/>
                </a:ext>
              </a:extLst>
            </p:cNvPr>
            <p:cNvSpPr/>
            <p:nvPr/>
          </p:nvSpPr>
          <p:spPr>
            <a:xfrm>
              <a:off x="11456536" y="6552888"/>
              <a:ext cx="74556" cy="77397"/>
            </a:xfrm>
            <a:custGeom>
              <a:avLst/>
              <a:gdLst>
                <a:gd name="connsiteX0" fmla="*/ 74557 w 74556"/>
                <a:gd name="connsiteY0" fmla="*/ 38699 h 77397"/>
                <a:gd name="connsiteX1" fmla="*/ 74557 w 74556"/>
                <a:gd name="connsiteY1" fmla="*/ 75810 h 77397"/>
                <a:gd name="connsiteX2" fmla="*/ 61712 w 74556"/>
                <a:gd name="connsiteY2" fmla="*/ 75810 h 77397"/>
                <a:gd name="connsiteX3" fmla="*/ 60433 w 74556"/>
                <a:gd name="connsiteY3" fmla="*/ 64234 h 77397"/>
                <a:gd name="connsiteX4" fmla="*/ 35687 w 74556"/>
                <a:gd name="connsiteY4" fmla="*/ 77397 h 77397"/>
                <a:gd name="connsiteX5" fmla="*/ 0 w 74556"/>
                <a:gd name="connsiteY5" fmla="*/ 38699 h 77397"/>
                <a:gd name="connsiteX6" fmla="*/ 37583 w 74556"/>
                <a:gd name="connsiteY6" fmla="*/ 0 h 77397"/>
                <a:gd name="connsiteX7" fmla="*/ 74557 w 74556"/>
                <a:gd name="connsiteY7" fmla="*/ 38699 h 77397"/>
                <a:gd name="connsiteX8" fmla="*/ 59953 w 74556"/>
                <a:gd name="connsiteY8" fmla="*/ 38699 h 77397"/>
                <a:gd name="connsiteX9" fmla="*/ 37583 w 74556"/>
                <a:gd name="connsiteY9" fmla="*/ 13326 h 77397"/>
                <a:gd name="connsiteX10" fmla="*/ 14596 w 74556"/>
                <a:gd name="connsiteY10" fmla="*/ 38699 h 77397"/>
                <a:gd name="connsiteX11" fmla="*/ 37583 w 74556"/>
                <a:gd name="connsiteY11" fmla="*/ 64071 h 77397"/>
                <a:gd name="connsiteX12" fmla="*/ 59953 w 74556"/>
                <a:gd name="connsiteY12" fmla="*/ 38699 h 7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556" h="77397">
                  <a:moveTo>
                    <a:pt x="74557" y="38699"/>
                  </a:moveTo>
                  <a:lnTo>
                    <a:pt x="74557" y="75810"/>
                  </a:lnTo>
                  <a:lnTo>
                    <a:pt x="61712" y="75810"/>
                  </a:lnTo>
                  <a:lnTo>
                    <a:pt x="60433" y="64234"/>
                  </a:lnTo>
                  <a:cubicBezTo>
                    <a:pt x="54727" y="72806"/>
                    <a:pt x="44739" y="77397"/>
                    <a:pt x="35687" y="77397"/>
                  </a:cubicBezTo>
                  <a:cubicBezTo>
                    <a:pt x="15385" y="77397"/>
                    <a:pt x="0" y="61223"/>
                    <a:pt x="0" y="38699"/>
                  </a:cubicBezTo>
                  <a:cubicBezTo>
                    <a:pt x="0" y="16174"/>
                    <a:pt x="16492" y="0"/>
                    <a:pt x="37583" y="0"/>
                  </a:cubicBezTo>
                  <a:cubicBezTo>
                    <a:pt x="56950" y="0"/>
                    <a:pt x="74557" y="13952"/>
                    <a:pt x="74557" y="38699"/>
                  </a:cubicBezTo>
                  <a:close/>
                  <a:moveTo>
                    <a:pt x="59953" y="38699"/>
                  </a:moveTo>
                  <a:cubicBezTo>
                    <a:pt x="59953" y="22370"/>
                    <a:pt x="49176" y="13326"/>
                    <a:pt x="37583" y="13326"/>
                  </a:cubicBezTo>
                  <a:cubicBezTo>
                    <a:pt x="24892" y="13326"/>
                    <a:pt x="14596" y="23485"/>
                    <a:pt x="14596" y="38699"/>
                  </a:cubicBezTo>
                  <a:cubicBezTo>
                    <a:pt x="14596" y="53912"/>
                    <a:pt x="24120" y="64071"/>
                    <a:pt x="37583" y="64071"/>
                  </a:cubicBezTo>
                  <a:cubicBezTo>
                    <a:pt x="49021" y="64071"/>
                    <a:pt x="59953" y="54547"/>
                    <a:pt x="59953" y="38699"/>
                  </a:cubicBezTo>
                  <a:close/>
                </a:path>
              </a:pathLst>
            </a:custGeom>
            <a:solidFill>
              <a:srgbClr val="FFFFFF"/>
            </a:solidFill>
            <a:ln w="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531875-D653-0EB7-6941-CD61A183CC12}"/>
                </a:ext>
              </a:extLst>
            </p:cNvPr>
            <p:cNvSpPr/>
            <p:nvPr/>
          </p:nvSpPr>
          <p:spPr>
            <a:xfrm>
              <a:off x="11540926" y="6552913"/>
              <a:ext cx="109145" cy="75946"/>
            </a:xfrm>
            <a:custGeom>
              <a:avLst/>
              <a:gdLst>
                <a:gd name="connsiteX0" fmla="*/ 0 w 109145"/>
                <a:gd name="connsiteY0" fmla="*/ 75792 h 75946"/>
                <a:gd name="connsiteX1" fmla="*/ 0 w 109145"/>
                <a:gd name="connsiteY1" fmla="*/ 31868 h 75946"/>
                <a:gd name="connsiteX2" fmla="*/ 30461 w 109145"/>
                <a:gd name="connsiteY2" fmla="*/ 0 h 75946"/>
                <a:gd name="connsiteX3" fmla="*/ 54418 w 109145"/>
                <a:gd name="connsiteY3" fmla="*/ 13489 h 75946"/>
                <a:gd name="connsiteX4" fmla="*/ 54727 w 109145"/>
                <a:gd name="connsiteY4" fmla="*/ 13489 h 75946"/>
                <a:gd name="connsiteX5" fmla="*/ 78684 w 109145"/>
                <a:gd name="connsiteY5" fmla="*/ 0 h 75946"/>
                <a:gd name="connsiteX6" fmla="*/ 109145 w 109145"/>
                <a:gd name="connsiteY6" fmla="*/ 31868 h 75946"/>
                <a:gd name="connsiteX7" fmla="*/ 109145 w 109145"/>
                <a:gd name="connsiteY7" fmla="*/ 75792 h 75946"/>
                <a:gd name="connsiteX8" fmla="*/ 94558 w 109145"/>
                <a:gd name="connsiteY8" fmla="*/ 75792 h 75946"/>
                <a:gd name="connsiteX9" fmla="*/ 94558 w 109145"/>
                <a:gd name="connsiteY9" fmla="*/ 32967 h 75946"/>
                <a:gd name="connsiteX10" fmla="*/ 78229 w 109145"/>
                <a:gd name="connsiteY10" fmla="*/ 13617 h 75946"/>
                <a:gd name="connsiteX11" fmla="*/ 61901 w 109145"/>
                <a:gd name="connsiteY11" fmla="*/ 33276 h 75946"/>
                <a:gd name="connsiteX12" fmla="*/ 61901 w 109145"/>
                <a:gd name="connsiteY12" fmla="*/ 75947 h 75946"/>
                <a:gd name="connsiteX13" fmla="*/ 47314 w 109145"/>
                <a:gd name="connsiteY13" fmla="*/ 75947 h 75946"/>
                <a:gd name="connsiteX14" fmla="*/ 47314 w 109145"/>
                <a:gd name="connsiteY14" fmla="*/ 33276 h 75946"/>
                <a:gd name="connsiteX15" fmla="*/ 30985 w 109145"/>
                <a:gd name="connsiteY15" fmla="*/ 13617 h 75946"/>
                <a:gd name="connsiteX16" fmla="*/ 14656 w 109145"/>
                <a:gd name="connsiteY16" fmla="*/ 32967 h 75946"/>
                <a:gd name="connsiteX17" fmla="*/ 14656 w 109145"/>
                <a:gd name="connsiteY17" fmla="*/ 75792 h 75946"/>
                <a:gd name="connsiteX18" fmla="*/ 34 w 109145"/>
                <a:gd name="connsiteY18" fmla="*/ 75792 h 75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9145" h="75946">
                  <a:moveTo>
                    <a:pt x="0" y="75792"/>
                  </a:moveTo>
                  <a:lnTo>
                    <a:pt x="0" y="31868"/>
                  </a:lnTo>
                  <a:cubicBezTo>
                    <a:pt x="0" y="13309"/>
                    <a:pt x="11901" y="0"/>
                    <a:pt x="30461" y="0"/>
                  </a:cubicBezTo>
                  <a:cubicBezTo>
                    <a:pt x="45366" y="0"/>
                    <a:pt x="53294" y="9988"/>
                    <a:pt x="54418" y="13489"/>
                  </a:cubicBezTo>
                  <a:lnTo>
                    <a:pt x="54727" y="13489"/>
                  </a:lnTo>
                  <a:cubicBezTo>
                    <a:pt x="55834" y="10005"/>
                    <a:pt x="63763" y="0"/>
                    <a:pt x="78684" y="0"/>
                  </a:cubicBezTo>
                  <a:cubicBezTo>
                    <a:pt x="97244" y="0"/>
                    <a:pt x="109145" y="13317"/>
                    <a:pt x="109145" y="31868"/>
                  </a:cubicBezTo>
                  <a:lnTo>
                    <a:pt x="109145" y="75792"/>
                  </a:lnTo>
                  <a:lnTo>
                    <a:pt x="94558" y="75792"/>
                  </a:lnTo>
                  <a:lnTo>
                    <a:pt x="94558" y="32967"/>
                  </a:lnTo>
                  <a:cubicBezTo>
                    <a:pt x="94558" y="20911"/>
                    <a:pt x="89161" y="13617"/>
                    <a:pt x="78229" y="13617"/>
                  </a:cubicBezTo>
                  <a:cubicBezTo>
                    <a:pt x="67298" y="13617"/>
                    <a:pt x="61901" y="20911"/>
                    <a:pt x="61901" y="33276"/>
                  </a:cubicBezTo>
                  <a:lnTo>
                    <a:pt x="61901" y="75947"/>
                  </a:lnTo>
                  <a:lnTo>
                    <a:pt x="47314" y="75947"/>
                  </a:lnTo>
                  <a:lnTo>
                    <a:pt x="47314" y="33276"/>
                  </a:lnTo>
                  <a:cubicBezTo>
                    <a:pt x="47314" y="20911"/>
                    <a:pt x="41916" y="13617"/>
                    <a:pt x="30985" y="13617"/>
                  </a:cubicBezTo>
                  <a:cubicBezTo>
                    <a:pt x="20053" y="13617"/>
                    <a:pt x="14656" y="20911"/>
                    <a:pt x="14656" y="32967"/>
                  </a:cubicBezTo>
                  <a:lnTo>
                    <a:pt x="14656" y="75792"/>
                  </a:lnTo>
                  <a:lnTo>
                    <a:pt x="34" y="75792"/>
                  </a:lnTo>
                  <a:close/>
                </a:path>
              </a:pathLst>
            </a:custGeom>
            <a:solidFill>
              <a:srgbClr val="FFFFFF"/>
            </a:solidFill>
            <a:ln w="8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18197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ac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FA3D5559-630B-68EB-88DB-BCC345505905}"/>
              </a:ext>
            </a:extLst>
          </p:cNvPr>
          <p:cNvSpPr/>
          <p:nvPr/>
        </p:nvSpPr>
        <p:spPr>
          <a:xfrm>
            <a:off x="0" y="329967"/>
            <a:ext cx="6096000" cy="6528034"/>
          </a:xfrm>
          <a:custGeom>
            <a:avLst/>
            <a:gdLst>
              <a:gd name="connsiteX0" fmla="*/ 498361 w 6096000"/>
              <a:gd name="connsiteY0" fmla="*/ 0 h 6528034"/>
              <a:gd name="connsiteX1" fmla="*/ 2956322 w 6096000"/>
              <a:gd name="connsiteY1" fmla="*/ 0 h 6528034"/>
              <a:gd name="connsiteX2" fmla="*/ 2956322 w 6096000"/>
              <a:gd name="connsiteY2" fmla="*/ 1 h 6528034"/>
              <a:gd name="connsiteX3" fmla="*/ 3133467 w 6096000"/>
              <a:gd name="connsiteY3" fmla="*/ 1 h 6528034"/>
              <a:gd name="connsiteX4" fmla="*/ 5254219 w 6096000"/>
              <a:gd name="connsiteY4" fmla="*/ 1 h 6528034"/>
              <a:gd name="connsiteX5" fmla="*/ 5254219 w 6096000"/>
              <a:gd name="connsiteY5" fmla="*/ 2612 h 6528034"/>
              <a:gd name="connsiteX6" fmla="*/ 5334022 w 6096000"/>
              <a:gd name="connsiteY6" fmla="*/ 2594 h 6528034"/>
              <a:gd name="connsiteX7" fmla="*/ 5567834 w 6096000"/>
              <a:gd name="connsiteY7" fmla="*/ 100419 h 6528034"/>
              <a:gd name="connsiteX8" fmla="*/ 5998174 w 6096000"/>
              <a:gd name="connsiteY8" fmla="*/ 530758 h 6528034"/>
              <a:gd name="connsiteX9" fmla="*/ 6089287 w 6096000"/>
              <a:gd name="connsiteY9" fmla="*/ 699850 h 6528034"/>
              <a:gd name="connsiteX10" fmla="*/ 6092847 w 6096000"/>
              <a:gd name="connsiteY10" fmla="*/ 734186 h 6528034"/>
              <a:gd name="connsiteX11" fmla="*/ 6094720 w 6096000"/>
              <a:gd name="connsiteY11" fmla="*/ 734187 h 6528034"/>
              <a:gd name="connsiteX12" fmla="*/ 6094720 w 6096000"/>
              <a:gd name="connsiteY12" fmla="*/ 752239 h 6528034"/>
              <a:gd name="connsiteX13" fmla="*/ 6096000 w 6096000"/>
              <a:gd name="connsiteY13" fmla="*/ 764572 h 6528034"/>
              <a:gd name="connsiteX14" fmla="*/ 6095930 w 6096000"/>
              <a:gd name="connsiteY14" fmla="*/ 1081147 h 6528034"/>
              <a:gd name="connsiteX15" fmla="*/ 6095926 w 6096000"/>
              <a:gd name="connsiteY15" fmla="*/ 1105640 h 6528034"/>
              <a:gd name="connsiteX16" fmla="*/ 6096000 w 6096000"/>
              <a:gd name="connsiteY16" fmla="*/ 1106355 h 6528034"/>
              <a:gd name="connsiteX17" fmla="*/ 6095896 w 6096000"/>
              <a:gd name="connsiteY17" fmla="*/ 1578910 h 6528034"/>
              <a:gd name="connsiteX18" fmla="*/ 6095210 w 6096000"/>
              <a:gd name="connsiteY18" fmla="*/ 1578912 h 6528034"/>
              <a:gd name="connsiteX19" fmla="*/ 6094720 w 6096000"/>
              <a:gd name="connsiteY19" fmla="*/ 1578914 h 6528034"/>
              <a:gd name="connsiteX20" fmla="*/ 6094720 w 6096000"/>
              <a:gd name="connsiteY20" fmla="*/ 1676436 h 6528034"/>
              <a:gd name="connsiteX21" fmla="*/ 6094720 w 6096000"/>
              <a:gd name="connsiteY21" fmla="*/ 1939724 h 6528034"/>
              <a:gd name="connsiteX22" fmla="*/ 6094720 w 6096000"/>
              <a:gd name="connsiteY22" fmla="*/ 1957771 h 6528034"/>
              <a:gd name="connsiteX23" fmla="*/ 6096000 w 6096000"/>
              <a:gd name="connsiteY23" fmla="*/ 1970105 h 6528034"/>
              <a:gd name="connsiteX24" fmla="*/ 6095930 w 6096000"/>
              <a:gd name="connsiteY24" fmla="*/ 2286686 h 6528034"/>
              <a:gd name="connsiteX25" fmla="*/ 6095926 w 6096000"/>
              <a:gd name="connsiteY25" fmla="*/ 2311171 h 6528034"/>
              <a:gd name="connsiteX26" fmla="*/ 6095999 w 6096000"/>
              <a:gd name="connsiteY26" fmla="*/ 2311888 h 6528034"/>
              <a:gd name="connsiteX27" fmla="*/ 6095896 w 6096000"/>
              <a:gd name="connsiteY27" fmla="*/ 2784449 h 6528034"/>
              <a:gd name="connsiteX28" fmla="*/ 6095210 w 6096000"/>
              <a:gd name="connsiteY28" fmla="*/ 2784450 h 6528034"/>
              <a:gd name="connsiteX29" fmla="*/ 6094720 w 6096000"/>
              <a:gd name="connsiteY29" fmla="*/ 2784451 h 6528034"/>
              <a:gd name="connsiteX30" fmla="*/ 6094720 w 6096000"/>
              <a:gd name="connsiteY30" fmla="*/ 2881981 h 6528034"/>
              <a:gd name="connsiteX31" fmla="*/ 6094720 w 6096000"/>
              <a:gd name="connsiteY31" fmla="*/ 3094524 h 6528034"/>
              <a:gd name="connsiteX32" fmla="*/ 6094720 w 6096000"/>
              <a:gd name="connsiteY32" fmla="*/ 3223754 h 6528034"/>
              <a:gd name="connsiteX33" fmla="*/ 6094720 w 6096000"/>
              <a:gd name="connsiteY33" fmla="*/ 3316620 h 6528034"/>
              <a:gd name="connsiteX34" fmla="*/ 6094720 w 6096000"/>
              <a:gd name="connsiteY34" fmla="*/ 3436291 h 6528034"/>
              <a:gd name="connsiteX35" fmla="*/ 6094720 w 6096000"/>
              <a:gd name="connsiteY35" fmla="*/ 3524159 h 6528034"/>
              <a:gd name="connsiteX36" fmla="*/ 6094720 w 6096000"/>
              <a:gd name="connsiteY36" fmla="*/ 3612822 h 6528034"/>
              <a:gd name="connsiteX37" fmla="*/ 6096000 w 6096000"/>
              <a:gd name="connsiteY37" fmla="*/ 3625155 h 6528034"/>
              <a:gd name="connsiteX38" fmla="*/ 6095930 w 6096000"/>
              <a:gd name="connsiteY38" fmla="*/ 3941730 h 6528034"/>
              <a:gd name="connsiteX39" fmla="*/ 6095926 w 6096000"/>
              <a:gd name="connsiteY39" fmla="*/ 3966224 h 6528034"/>
              <a:gd name="connsiteX40" fmla="*/ 6096000 w 6096000"/>
              <a:gd name="connsiteY40" fmla="*/ 3966938 h 6528034"/>
              <a:gd name="connsiteX41" fmla="*/ 6095995 w 6096000"/>
              <a:gd name="connsiteY41" fmla="*/ 3991859 h 6528034"/>
              <a:gd name="connsiteX42" fmla="*/ 6095993 w 6096000"/>
              <a:gd name="connsiteY42" fmla="*/ 4001046 h 6528034"/>
              <a:gd name="connsiteX43" fmla="*/ 6095999 w 6096000"/>
              <a:gd name="connsiteY43" fmla="*/ 4001118 h 6528034"/>
              <a:gd name="connsiteX44" fmla="*/ 6095930 w 6096000"/>
              <a:gd name="connsiteY44" fmla="*/ 4317694 h 6528034"/>
              <a:gd name="connsiteX45" fmla="*/ 6095926 w 6096000"/>
              <a:gd name="connsiteY45" fmla="*/ 4342186 h 6528034"/>
              <a:gd name="connsiteX46" fmla="*/ 6096000 w 6096000"/>
              <a:gd name="connsiteY46" fmla="*/ 4342902 h 6528034"/>
              <a:gd name="connsiteX47" fmla="*/ 6095896 w 6096000"/>
              <a:gd name="connsiteY47" fmla="*/ 4815458 h 6528034"/>
              <a:gd name="connsiteX48" fmla="*/ 6095209 w 6096000"/>
              <a:gd name="connsiteY48" fmla="*/ 4815459 h 6528034"/>
              <a:gd name="connsiteX49" fmla="*/ 6094720 w 6096000"/>
              <a:gd name="connsiteY49" fmla="*/ 4815459 h 6528034"/>
              <a:gd name="connsiteX50" fmla="*/ 6094720 w 6096000"/>
              <a:gd name="connsiteY50" fmla="*/ 4901060 h 6528034"/>
              <a:gd name="connsiteX51" fmla="*/ 6094720 w 6096000"/>
              <a:gd name="connsiteY51" fmla="*/ 5109958 h 6528034"/>
              <a:gd name="connsiteX52" fmla="*/ 6094720 w 6096000"/>
              <a:gd name="connsiteY52" fmla="*/ 5202832 h 6528034"/>
              <a:gd name="connsiteX53" fmla="*/ 6094720 w 6096000"/>
              <a:gd name="connsiteY53" fmla="*/ 5242844 h 6528034"/>
              <a:gd name="connsiteX54" fmla="*/ 6094720 w 6096000"/>
              <a:gd name="connsiteY54" fmla="*/ 5544616 h 6528034"/>
              <a:gd name="connsiteX55" fmla="*/ 6094720 w 6096000"/>
              <a:gd name="connsiteY55" fmla="*/ 5884479 h 6528034"/>
              <a:gd name="connsiteX56" fmla="*/ 6094720 w 6096000"/>
              <a:gd name="connsiteY56" fmla="*/ 6186250 h 6528034"/>
              <a:gd name="connsiteX57" fmla="*/ 6094720 w 6096000"/>
              <a:gd name="connsiteY57" fmla="*/ 6226262 h 6528034"/>
              <a:gd name="connsiteX58" fmla="*/ 6094720 w 6096000"/>
              <a:gd name="connsiteY58" fmla="*/ 6528034 h 6528034"/>
              <a:gd name="connsiteX59" fmla="*/ 5774783 w 6096000"/>
              <a:gd name="connsiteY59" fmla="*/ 6528034 h 6528034"/>
              <a:gd name="connsiteX60" fmla="*/ 5597638 w 6096000"/>
              <a:gd name="connsiteY60" fmla="*/ 6528034 h 6528034"/>
              <a:gd name="connsiteX61" fmla="*/ 3636760 w 6096000"/>
              <a:gd name="connsiteY61" fmla="*/ 6528034 h 6528034"/>
              <a:gd name="connsiteX62" fmla="*/ 3459615 w 6096000"/>
              <a:gd name="connsiteY62" fmla="*/ 6528034 h 6528034"/>
              <a:gd name="connsiteX63" fmla="*/ 3139677 w 6096000"/>
              <a:gd name="connsiteY63" fmla="*/ 6528034 h 6528034"/>
              <a:gd name="connsiteX64" fmla="*/ 3139677 w 6096000"/>
              <a:gd name="connsiteY64" fmla="*/ 6528032 h 6528034"/>
              <a:gd name="connsiteX65" fmla="*/ 2962532 w 6096000"/>
              <a:gd name="connsiteY65" fmla="*/ 6528032 h 6528034"/>
              <a:gd name="connsiteX66" fmla="*/ 841782 w 6096000"/>
              <a:gd name="connsiteY66" fmla="*/ 6528032 h 6528034"/>
              <a:gd name="connsiteX67" fmla="*/ 841782 w 6096000"/>
              <a:gd name="connsiteY67" fmla="*/ 6527773 h 6528034"/>
              <a:gd name="connsiteX68" fmla="*/ 761978 w 6096000"/>
              <a:gd name="connsiteY68" fmla="*/ 6527791 h 6528034"/>
              <a:gd name="connsiteX69" fmla="*/ 528166 w 6096000"/>
              <a:gd name="connsiteY69" fmla="*/ 6429965 h 6528034"/>
              <a:gd name="connsiteX70" fmla="*/ 97826 w 6096000"/>
              <a:gd name="connsiteY70" fmla="*/ 5999627 h 6528034"/>
              <a:gd name="connsiteX71" fmla="*/ 2 w 6096000"/>
              <a:gd name="connsiteY71" fmla="*/ 5765813 h 6528034"/>
              <a:gd name="connsiteX72" fmla="*/ 57 w 6096000"/>
              <a:gd name="connsiteY72" fmla="*/ 5512346 h 6528034"/>
              <a:gd name="connsiteX73" fmla="*/ 67 w 6096000"/>
              <a:gd name="connsiteY73" fmla="*/ 5464670 h 6528034"/>
              <a:gd name="connsiteX74" fmla="*/ 2 w 6096000"/>
              <a:gd name="connsiteY74" fmla="*/ 5464039 h 6528034"/>
              <a:gd name="connsiteX75" fmla="*/ 7 w 6096000"/>
              <a:gd name="connsiteY75" fmla="*/ 5439119 h 6528034"/>
              <a:gd name="connsiteX76" fmla="*/ 10 w 6096000"/>
              <a:gd name="connsiteY76" fmla="*/ 5424128 h 6528034"/>
              <a:gd name="connsiteX77" fmla="*/ 0 w 6096000"/>
              <a:gd name="connsiteY77" fmla="*/ 5424029 h 6528034"/>
              <a:gd name="connsiteX78" fmla="*/ 55 w 6096000"/>
              <a:gd name="connsiteY78" fmla="*/ 5170563 h 6528034"/>
              <a:gd name="connsiteX79" fmla="*/ 66 w 6096000"/>
              <a:gd name="connsiteY79" fmla="*/ 5122889 h 6528034"/>
              <a:gd name="connsiteX80" fmla="*/ 0 w 6096000"/>
              <a:gd name="connsiteY80" fmla="*/ 5122257 h 6528034"/>
              <a:gd name="connsiteX81" fmla="*/ 103 w 6096000"/>
              <a:gd name="connsiteY81" fmla="*/ 4649702 h 6528034"/>
              <a:gd name="connsiteX82" fmla="*/ 790 w 6096000"/>
              <a:gd name="connsiteY82" fmla="*/ 4649701 h 6528034"/>
              <a:gd name="connsiteX83" fmla="*/ 1276 w 6096000"/>
              <a:gd name="connsiteY83" fmla="*/ 4649700 h 6528034"/>
              <a:gd name="connsiteX84" fmla="*/ 1277 w 6096000"/>
              <a:gd name="connsiteY84" fmla="*/ 3891898 h 6528034"/>
              <a:gd name="connsiteX85" fmla="*/ 1 w 6096000"/>
              <a:gd name="connsiteY85" fmla="*/ 3879598 h 6528034"/>
              <a:gd name="connsiteX86" fmla="*/ 70 w 6096000"/>
              <a:gd name="connsiteY86" fmla="*/ 3563023 h 6528034"/>
              <a:gd name="connsiteX87" fmla="*/ 76 w 6096000"/>
              <a:gd name="connsiteY87" fmla="*/ 3538548 h 6528034"/>
              <a:gd name="connsiteX88" fmla="*/ 0 w 6096000"/>
              <a:gd name="connsiteY88" fmla="*/ 3537818 h 6528034"/>
              <a:gd name="connsiteX89" fmla="*/ 103 w 6096000"/>
              <a:gd name="connsiteY89" fmla="*/ 3065277 h 6528034"/>
              <a:gd name="connsiteX90" fmla="*/ 791 w 6096000"/>
              <a:gd name="connsiteY90" fmla="*/ 3065276 h 6528034"/>
              <a:gd name="connsiteX91" fmla="*/ 1277 w 6096000"/>
              <a:gd name="connsiteY91" fmla="*/ 3065275 h 6528034"/>
              <a:gd name="connsiteX92" fmla="*/ 1277 w 6096000"/>
              <a:gd name="connsiteY92" fmla="*/ 2686371 h 6528034"/>
              <a:gd name="connsiteX93" fmla="*/ 2 w 6096000"/>
              <a:gd name="connsiteY93" fmla="*/ 2674072 h 6528034"/>
              <a:gd name="connsiteX94" fmla="*/ 70 w 6096000"/>
              <a:gd name="connsiteY94" fmla="*/ 2357496 h 6528034"/>
              <a:gd name="connsiteX95" fmla="*/ 75 w 6096000"/>
              <a:gd name="connsiteY95" fmla="*/ 2333023 h 6528034"/>
              <a:gd name="connsiteX96" fmla="*/ 0 w 6096000"/>
              <a:gd name="connsiteY96" fmla="*/ 2332286 h 6528034"/>
              <a:gd name="connsiteX97" fmla="*/ 102 w 6096000"/>
              <a:gd name="connsiteY97" fmla="*/ 1859734 h 6528034"/>
              <a:gd name="connsiteX98" fmla="*/ 790 w 6096000"/>
              <a:gd name="connsiteY98" fmla="*/ 1859730 h 6528034"/>
              <a:gd name="connsiteX99" fmla="*/ 1277 w 6096000"/>
              <a:gd name="connsiteY99" fmla="*/ 1859730 h 6528034"/>
              <a:gd name="connsiteX100" fmla="*/ 1277 w 6096000"/>
              <a:gd name="connsiteY100" fmla="*/ 734186 h 6528034"/>
              <a:gd name="connsiteX101" fmla="*/ 1278 w 6096000"/>
              <a:gd name="connsiteY101" fmla="*/ 734186 h 6528034"/>
              <a:gd name="connsiteX102" fmla="*/ 1278 w 6096000"/>
              <a:gd name="connsiteY102" fmla="*/ 1 h 6528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96000" h="6528034">
                <a:moveTo>
                  <a:pt x="498361" y="0"/>
                </a:moveTo>
                <a:lnTo>
                  <a:pt x="2956322" y="0"/>
                </a:lnTo>
                <a:lnTo>
                  <a:pt x="2956322" y="1"/>
                </a:lnTo>
                <a:lnTo>
                  <a:pt x="3133467" y="1"/>
                </a:lnTo>
                <a:lnTo>
                  <a:pt x="5254219" y="1"/>
                </a:lnTo>
                <a:lnTo>
                  <a:pt x="5254219" y="2612"/>
                </a:lnTo>
                <a:lnTo>
                  <a:pt x="5334022" y="2594"/>
                </a:lnTo>
                <a:cubicBezTo>
                  <a:pt x="5421676" y="3113"/>
                  <a:pt x="5505980" y="38567"/>
                  <a:pt x="5567834" y="100419"/>
                </a:cubicBezTo>
                <a:cubicBezTo>
                  <a:pt x="5567834" y="100419"/>
                  <a:pt x="5567834" y="100419"/>
                  <a:pt x="5998174" y="530758"/>
                </a:cubicBezTo>
                <a:cubicBezTo>
                  <a:pt x="6045058" y="577643"/>
                  <a:pt x="6076350" y="636415"/>
                  <a:pt x="6089287" y="699850"/>
                </a:cubicBezTo>
                <a:lnTo>
                  <a:pt x="6092847" y="734186"/>
                </a:lnTo>
                <a:lnTo>
                  <a:pt x="6094720" y="734187"/>
                </a:lnTo>
                <a:lnTo>
                  <a:pt x="6094720" y="752239"/>
                </a:lnTo>
                <a:lnTo>
                  <a:pt x="6096000" y="764572"/>
                </a:lnTo>
                <a:cubicBezTo>
                  <a:pt x="6096000" y="764572"/>
                  <a:pt x="6096000" y="764572"/>
                  <a:pt x="6095930" y="1081147"/>
                </a:cubicBezTo>
                <a:lnTo>
                  <a:pt x="6095926" y="1105640"/>
                </a:lnTo>
                <a:lnTo>
                  <a:pt x="6096000" y="1106355"/>
                </a:lnTo>
                <a:cubicBezTo>
                  <a:pt x="6096000" y="1106355"/>
                  <a:pt x="6096000" y="1106355"/>
                  <a:pt x="6095896" y="1578910"/>
                </a:cubicBezTo>
                <a:cubicBezTo>
                  <a:pt x="6095896" y="1578910"/>
                  <a:pt x="6095896" y="1578910"/>
                  <a:pt x="6095210" y="1578912"/>
                </a:cubicBezTo>
                <a:lnTo>
                  <a:pt x="6094720" y="1578914"/>
                </a:lnTo>
                <a:lnTo>
                  <a:pt x="6094720" y="1676436"/>
                </a:lnTo>
                <a:lnTo>
                  <a:pt x="6094720" y="1939724"/>
                </a:lnTo>
                <a:lnTo>
                  <a:pt x="6094720" y="1957771"/>
                </a:lnTo>
                <a:lnTo>
                  <a:pt x="6096000" y="1970105"/>
                </a:lnTo>
                <a:cubicBezTo>
                  <a:pt x="6096000" y="1970105"/>
                  <a:pt x="6096000" y="1970105"/>
                  <a:pt x="6095930" y="2286686"/>
                </a:cubicBezTo>
                <a:lnTo>
                  <a:pt x="6095926" y="2311171"/>
                </a:lnTo>
                <a:lnTo>
                  <a:pt x="6095999" y="2311888"/>
                </a:lnTo>
                <a:cubicBezTo>
                  <a:pt x="6095999" y="2311888"/>
                  <a:pt x="6095999" y="2311888"/>
                  <a:pt x="6095896" y="2784449"/>
                </a:cubicBezTo>
                <a:cubicBezTo>
                  <a:pt x="6095896" y="2784449"/>
                  <a:pt x="6095896" y="2784449"/>
                  <a:pt x="6095210" y="2784450"/>
                </a:cubicBezTo>
                <a:lnTo>
                  <a:pt x="6094720" y="2784451"/>
                </a:lnTo>
                <a:lnTo>
                  <a:pt x="6094720" y="2881981"/>
                </a:lnTo>
                <a:lnTo>
                  <a:pt x="6094720" y="3094524"/>
                </a:lnTo>
                <a:lnTo>
                  <a:pt x="6094720" y="3223754"/>
                </a:lnTo>
                <a:lnTo>
                  <a:pt x="6094720" y="3316620"/>
                </a:lnTo>
                <a:lnTo>
                  <a:pt x="6094720" y="3436291"/>
                </a:lnTo>
                <a:lnTo>
                  <a:pt x="6094720" y="3524159"/>
                </a:lnTo>
                <a:lnTo>
                  <a:pt x="6094720" y="3612822"/>
                </a:lnTo>
                <a:lnTo>
                  <a:pt x="6096000" y="3625155"/>
                </a:lnTo>
                <a:cubicBezTo>
                  <a:pt x="6096000" y="3625155"/>
                  <a:pt x="6096000" y="3625155"/>
                  <a:pt x="6095930" y="3941730"/>
                </a:cubicBezTo>
                <a:lnTo>
                  <a:pt x="6095926" y="3966224"/>
                </a:lnTo>
                <a:lnTo>
                  <a:pt x="6096000" y="3966938"/>
                </a:lnTo>
                <a:cubicBezTo>
                  <a:pt x="6096000" y="3966938"/>
                  <a:pt x="6096000" y="3966938"/>
                  <a:pt x="6095995" y="3991859"/>
                </a:cubicBezTo>
                <a:lnTo>
                  <a:pt x="6095993" y="4001046"/>
                </a:lnTo>
                <a:lnTo>
                  <a:pt x="6095999" y="4001118"/>
                </a:lnTo>
                <a:cubicBezTo>
                  <a:pt x="6095999" y="4001118"/>
                  <a:pt x="6095999" y="4001118"/>
                  <a:pt x="6095930" y="4317694"/>
                </a:cubicBezTo>
                <a:lnTo>
                  <a:pt x="6095926" y="4342186"/>
                </a:lnTo>
                <a:lnTo>
                  <a:pt x="6096000" y="4342902"/>
                </a:lnTo>
                <a:cubicBezTo>
                  <a:pt x="6096000" y="4342902"/>
                  <a:pt x="6096000" y="4342902"/>
                  <a:pt x="6095896" y="4815458"/>
                </a:cubicBezTo>
                <a:cubicBezTo>
                  <a:pt x="6095896" y="4815458"/>
                  <a:pt x="6095896" y="4815458"/>
                  <a:pt x="6095209" y="4815459"/>
                </a:cubicBezTo>
                <a:lnTo>
                  <a:pt x="6094720" y="4815459"/>
                </a:lnTo>
                <a:lnTo>
                  <a:pt x="6094720" y="4901060"/>
                </a:lnTo>
                <a:lnTo>
                  <a:pt x="6094720" y="5109958"/>
                </a:lnTo>
                <a:lnTo>
                  <a:pt x="6094720" y="5202832"/>
                </a:lnTo>
                <a:lnTo>
                  <a:pt x="6094720" y="5242844"/>
                </a:lnTo>
                <a:lnTo>
                  <a:pt x="6094720" y="5544616"/>
                </a:lnTo>
                <a:lnTo>
                  <a:pt x="6094720" y="5884479"/>
                </a:lnTo>
                <a:lnTo>
                  <a:pt x="6094720" y="6186250"/>
                </a:lnTo>
                <a:lnTo>
                  <a:pt x="6094720" y="6226262"/>
                </a:lnTo>
                <a:lnTo>
                  <a:pt x="6094720" y="6528034"/>
                </a:lnTo>
                <a:lnTo>
                  <a:pt x="5774783" y="6528034"/>
                </a:lnTo>
                <a:lnTo>
                  <a:pt x="5597638" y="6528034"/>
                </a:lnTo>
                <a:lnTo>
                  <a:pt x="3636760" y="6528034"/>
                </a:lnTo>
                <a:lnTo>
                  <a:pt x="3459615" y="6528034"/>
                </a:lnTo>
                <a:lnTo>
                  <a:pt x="3139677" y="6528034"/>
                </a:lnTo>
                <a:lnTo>
                  <a:pt x="3139677" y="6528032"/>
                </a:lnTo>
                <a:lnTo>
                  <a:pt x="2962532" y="6528032"/>
                </a:lnTo>
                <a:lnTo>
                  <a:pt x="841782" y="6528032"/>
                </a:lnTo>
                <a:lnTo>
                  <a:pt x="841782" y="6527773"/>
                </a:lnTo>
                <a:lnTo>
                  <a:pt x="761978" y="6527791"/>
                </a:lnTo>
                <a:cubicBezTo>
                  <a:pt x="674323" y="6527273"/>
                  <a:pt x="590019" y="6491819"/>
                  <a:pt x="528166" y="6429965"/>
                </a:cubicBezTo>
                <a:cubicBezTo>
                  <a:pt x="528166" y="6429965"/>
                  <a:pt x="528166" y="6429965"/>
                  <a:pt x="97826" y="5999627"/>
                </a:cubicBezTo>
                <a:cubicBezTo>
                  <a:pt x="35315" y="5937116"/>
                  <a:pt x="519" y="5853470"/>
                  <a:pt x="2" y="5765813"/>
                </a:cubicBezTo>
                <a:cubicBezTo>
                  <a:pt x="2" y="5765813"/>
                  <a:pt x="2" y="5765813"/>
                  <a:pt x="57" y="5512346"/>
                </a:cubicBezTo>
                <a:lnTo>
                  <a:pt x="67" y="5464670"/>
                </a:lnTo>
                <a:lnTo>
                  <a:pt x="2" y="5464039"/>
                </a:lnTo>
                <a:cubicBezTo>
                  <a:pt x="2" y="5464039"/>
                  <a:pt x="2" y="5464039"/>
                  <a:pt x="7" y="5439119"/>
                </a:cubicBezTo>
                <a:lnTo>
                  <a:pt x="10" y="5424128"/>
                </a:lnTo>
                <a:lnTo>
                  <a:pt x="0" y="5424029"/>
                </a:lnTo>
                <a:cubicBezTo>
                  <a:pt x="0" y="5424029"/>
                  <a:pt x="0" y="5424029"/>
                  <a:pt x="55" y="5170563"/>
                </a:cubicBezTo>
                <a:lnTo>
                  <a:pt x="66" y="5122889"/>
                </a:lnTo>
                <a:lnTo>
                  <a:pt x="0" y="5122257"/>
                </a:lnTo>
                <a:cubicBezTo>
                  <a:pt x="0" y="5122257"/>
                  <a:pt x="0" y="5122257"/>
                  <a:pt x="103" y="4649702"/>
                </a:cubicBezTo>
                <a:cubicBezTo>
                  <a:pt x="103" y="4649702"/>
                  <a:pt x="103" y="4649702"/>
                  <a:pt x="790" y="4649701"/>
                </a:cubicBezTo>
                <a:lnTo>
                  <a:pt x="1276" y="4649700"/>
                </a:lnTo>
                <a:lnTo>
                  <a:pt x="1277" y="3891898"/>
                </a:lnTo>
                <a:lnTo>
                  <a:pt x="1" y="3879598"/>
                </a:lnTo>
                <a:cubicBezTo>
                  <a:pt x="1" y="3879598"/>
                  <a:pt x="1" y="3879598"/>
                  <a:pt x="70" y="3563023"/>
                </a:cubicBezTo>
                <a:lnTo>
                  <a:pt x="76" y="3538548"/>
                </a:lnTo>
                <a:lnTo>
                  <a:pt x="0" y="3537818"/>
                </a:lnTo>
                <a:cubicBezTo>
                  <a:pt x="0" y="3537818"/>
                  <a:pt x="0" y="3537818"/>
                  <a:pt x="103" y="3065277"/>
                </a:cubicBezTo>
                <a:cubicBezTo>
                  <a:pt x="103" y="3065277"/>
                  <a:pt x="103" y="3065277"/>
                  <a:pt x="791" y="3065276"/>
                </a:cubicBezTo>
                <a:lnTo>
                  <a:pt x="1277" y="3065275"/>
                </a:lnTo>
                <a:lnTo>
                  <a:pt x="1277" y="2686371"/>
                </a:lnTo>
                <a:lnTo>
                  <a:pt x="2" y="2674072"/>
                </a:lnTo>
                <a:cubicBezTo>
                  <a:pt x="2" y="2674072"/>
                  <a:pt x="2" y="2674072"/>
                  <a:pt x="70" y="2357496"/>
                </a:cubicBezTo>
                <a:lnTo>
                  <a:pt x="75" y="2333023"/>
                </a:lnTo>
                <a:lnTo>
                  <a:pt x="0" y="2332286"/>
                </a:lnTo>
                <a:cubicBezTo>
                  <a:pt x="0" y="2332286"/>
                  <a:pt x="0" y="2332286"/>
                  <a:pt x="102" y="1859734"/>
                </a:cubicBezTo>
                <a:cubicBezTo>
                  <a:pt x="102" y="1859734"/>
                  <a:pt x="102" y="1859734"/>
                  <a:pt x="790" y="1859730"/>
                </a:cubicBezTo>
                <a:lnTo>
                  <a:pt x="1277" y="1859730"/>
                </a:lnTo>
                <a:lnTo>
                  <a:pt x="1277" y="734186"/>
                </a:lnTo>
                <a:lnTo>
                  <a:pt x="1278" y="734186"/>
                </a:lnTo>
                <a:lnTo>
                  <a:pt x="1278" y="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9929713-92BF-C5AE-255B-E700DC18B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3" y="579438"/>
            <a:ext cx="5113896" cy="792162"/>
          </a:xfrm>
        </p:spPr>
        <p:txBody>
          <a:bodyPr>
            <a:noAutofit/>
          </a:bodyPr>
          <a:lstStyle>
            <a:lvl1pPr>
              <a:lnSpc>
                <a:spcPct val="85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20AE283-D579-E34E-7789-64765852C9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67257" y="1382889"/>
            <a:ext cx="5131359" cy="336374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13D57F8-6390-CDE9-60EB-FC8B8483A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3712" y="1371600"/>
            <a:ext cx="5113897" cy="347663"/>
          </a:xfrm>
        </p:spPr>
        <p:txBody>
          <a:bodyPr>
            <a:noAutofit/>
          </a:bodyPr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F517ECE-082F-3056-AFD9-60411B053E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2250" y="579439"/>
            <a:ext cx="5126365" cy="792162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3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ooter Placeholder 66">
            <a:extLst>
              <a:ext uri="{FF2B5EF4-FFF2-40B4-BE49-F238E27FC236}">
                <a16:creationId xmlns:a16="http://schemas.microsoft.com/office/drawing/2014/main" id="{C84DD61B-4070-C209-5ED2-587D11C44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90" y="6405456"/>
            <a:ext cx="5124874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Content Placeholder 18">
            <a:extLst>
              <a:ext uri="{FF2B5EF4-FFF2-40B4-BE49-F238E27FC236}">
                <a16:creationId xmlns:a16="http://schemas.microsoft.com/office/drawing/2014/main" id="{F582D2F8-1181-5FCC-997C-48991667B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97125"/>
            <a:ext cx="5124876" cy="3771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101158F9-1BE5-6CCB-9F66-3D2F595BCE6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5124475" cy="3771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D19012-2F00-B026-AF1B-C0B1AAA46A1C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</p:spTree>
    <p:extLst>
      <p:ext uri="{BB962C8B-B14F-4D97-AF65-F5344CB8AC3E}">
        <p14:creationId xmlns:p14="http://schemas.microsoft.com/office/powerpoint/2010/main" val="2196669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Virid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689A8D44-0CC8-383B-B4E2-AA3D6981A7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02D6D283-8AC2-EB13-B516-0E2D9E4CBBF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244EC714-C35F-5891-DA25-0E04F73FDC6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251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iridis Alterna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een and white background&#10;&#10;Description automatically generated">
            <a:extLst>
              <a:ext uri="{FF2B5EF4-FFF2-40B4-BE49-F238E27FC236}">
                <a16:creationId xmlns:a16="http://schemas.microsoft.com/office/drawing/2014/main" id="{D9D8ABDB-B374-C08D-1423-39142E878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974"/>
            <a:ext cx="6094100" cy="6856026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BB3BB04-8588-C354-A750-0AAF31C9C662}"/>
              </a:ext>
            </a:extLst>
          </p:cNvPr>
          <p:cNvSpPr/>
          <p:nvPr userDrawn="1"/>
        </p:nvSpPr>
        <p:spPr>
          <a:xfrm>
            <a:off x="29206" y="745835"/>
            <a:ext cx="6064893" cy="5083465"/>
          </a:xfrm>
          <a:custGeom>
            <a:avLst/>
            <a:gdLst>
              <a:gd name="connsiteX0" fmla="*/ 6064893 w 6064893"/>
              <a:gd name="connsiteY0" fmla="*/ 0 h 5083465"/>
              <a:gd name="connsiteX1" fmla="*/ 6064893 w 6064893"/>
              <a:gd name="connsiteY1" fmla="*/ 4776654 h 5083465"/>
              <a:gd name="connsiteX2" fmla="*/ 5967498 w 6064893"/>
              <a:gd name="connsiteY2" fmla="*/ 4823056 h 5083465"/>
              <a:gd name="connsiteX3" fmla="*/ 4681218 w 6064893"/>
              <a:gd name="connsiteY3" fmla="*/ 5083465 h 5083465"/>
              <a:gd name="connsiteX4" fmla="*/ 198047 w 6064893"/>
              <a:gd name="connsiteY4" fmla="*/ 5083465 h 5083465"/>
              <a:gd name="connsiteX5" fmla="*/ 0 w 6064893"/>
              <a:gd name="connsiteY5" fmla="*/ 5083465 h 5083465"/>
              <a:gd name="connsiteX6" fmla="*/ 0 w 6064893"/>
              <a:gd name="connsiteY6" fmla="*/ 2967980 h 5083465"/>
              <a:gd name="connsiteX7" fmla="*/ 1065730 w 6064893"/>
              <a:gd name="connsiteY7" fmla="*/ 4033627 h 5083465"/>
              <a:gd name="connsiteX8" fmla="*/ 2030950 w 6064893"/>
              <a:gd name="connsiteY8" fmla="*/ 4033627 h 5083465"/>
              <a:gd name="connsiteX9" fmla="*/ 5962373 w 6064893"/>
              <a:gd name="connsiteY9" fmla="*/ 102511 h 508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64893" h="5083465">
                <a:moveTo>
                  <a:pt x="6064893" y="0"/>
                </a:moveTo>
                <a:lnTo>
                  <a:pt x="6064893" y="4776654"/>
                </a:lnTo>
                <a:lnTo>
                  <a:pt x="5967498" y="4823056"/>
                </a:lnTo>
                <a:cubicBezTo>
                  <a:pt x="5560551" y="4993245"/>
                  <a:pt x="5122930" y="5083465"/>
                  <a:pt x="4681218" y="5083465"/>
                </a:cubicBezTo>
                <a:cubicBezTo>
                  <a:pt x="2532988" y="5083465"/>
                  <a:pt x="1123212" y="5083465"/>
                  <a:pt x="198047" y="5083465"/>
                </a:cubicBezTo>
                <a:lnTo>
                  <a:pt x="0" y="5083465"/>
                </a:lnTo>
                <a:lnTo>
                  <a:pt x="0" y="2967980"/>
                </a:lnTo>
                <a:lnTo>
                  <a:pt x="1065730" y="4033627"/>
                </a:lnTo>
                <a:cubicBezTo>
                  <a:pt x="1327484" y="4312491"/>
                  <a:pt x="1769196" y="4312491"/>
                  <a:pt x="2030950" y="4033627"/>
                </a:cubicBezTo>
                <a:cubicBezTo>
                  <a:pt x="3835371" y="2229347"/>
                  <a:pt x="5090009" y="974808"/>
                  <a:pt x="5962373" y="102511"/>
                </a:cubicBezTo>
                <a:close/>
              </a:path>
            </a:pathLst>
          </a:custGeom>
          <a:gradFill flip="none" rotWithShape="1">
            <a:gsLst>
              <a:gs pos="56000">
                <a:srgbClr val="00D05D">
                  <a:lumMod val="60000"/>
                  <a:lumOff val="40000"/>
                  <a:alpha val="9000"/>
                </a:srgbClr>
              </a:gs>
              <a:gs pos="100000">
                <a:srgbClr val="00D05D">
                  <a:lumMod val="60000"/>
                  <a:lumOff val="40000"/>
                </a:srgbClr>
              </a:gs>
            </a:gsLst>
            <a:lin ang="24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1BE2C04-FEAB-C649-4659-D5B32D9A36D6}"/>
              </a:ext>
            </a:extLst>
          </p:cNvPr>
          <p:cNvSpPr txBox="1"/>
          <p:nvPr userDrawn="1"/>
        </p:nvSpPr>
        <p:spPr>
          <a:xfrm>
            <a:off x="524142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148703-D625-827F-FB95-145960D32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9312" y="2467915"/>
            <a:ext cx="4430065" cy="1232645"/>
          </a:xfrm>
        </p:spPr>
        <p:txBody>
          <a:bodyPr wrap="square" anchor="ctr">
            <a:noAutofit/>
          </a:bodyPr>
          <a:lstStyle>
            <a:lvl1pPr algn="l">
              <a:defRPr sz="8900" spc="-3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5BFD162-89C3-8E46-2EAF-9574BE7E36A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72251" y="688975"/>
            <a:ext cx="5124450" cy="5480050"/>
          </a:xfrm>
        </p:spPr>
        <p:txBody>
          <a:bodyPr anchor="ctr"/>
          <a:lstStyle>
            <a:lvl1pPr marL="346075" indent="-346075">
              <a:lnSpc>
                <a:spcPct val="89000"/>
              </a:lnSpc>
              <a:spcAft>
                <a:spcPts val="600"/>
              </a:spcAft>
              <a:buClr>
                <a:srgbClr val="8E71F4"/>
              </a:buClr>
              <a:buFont typeface="+mj-lt"/>
              <a:buAutoNum type="arabicPeriod"/>
              <a:defRPr sz="2400"/>
            </a:lvl1pPr>
            <a:lvl2pPr marL="2286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96413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46F69A0D-6F2A-EA6C-9086-16E4926EB2D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FF6A031D-CFD1-BBB2-DFB6-D1E2FF1BE0C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A7DB65BB-7E9A-514E-F900-7E7DC684E0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8315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a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1263A044-489A-F063-EF44-0FA544A4A8C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7D9E6090-3B36-AFFB-A36A-8D1C7287273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929AE5F4-71AC-9114-BB95-1D343A0203E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8919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689A8D44-0CC8-383B-B4E2-AA3D6981A7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02D6D283-8AC2-EB13-B516-0E2D9E4CBBF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244EC714-C35F-5891-DA25-0E04F73FDC6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9056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Az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79B756BD-525B-ED94-5E12-1E8B261CCD1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EA51BDD5-163B-786B-05DF-FA91C28BDB2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1310DE8B-3E81-E40B-89B4-044CAF4E86C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1946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Su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A30E5FBD-1FEB-36DE-0709-D2AD389C88A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D39B2807-FC2A-DDCC-EA0E-DA1ED3F078E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D7454341-F68C-0CE5-3DCC-35FB59E3A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2900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4A960-1966-68C3-41FC-594A6B88C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B7DAF8-F6A7-6F6B-9B22-E657CE551E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A6EE310-36F5-327E-169C-29E8787C9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9285CE7-3927-599A-7699-572E402D01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12" y="2035495"/>
            <a:ext cx="3535902" cy="3411523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22752F3-A11D-F3CE-9C28-1AC0B9FF73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22800" y="2035495"/>
            <a:ext cx="3535902" cy="341152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C1BD4B2-786C-28F8-387F-E3BBF4BE8E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788" y="2035495"/>
            <a:ext cx="3535902" cy="3411523"/>
          </a:xfrm>
          <a:prstGeom prst="rect">
            <a:avLst/>
          </a:prstGeom>
        </p:spPr>
      </p:pic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689A8D44-0CC8-383B-B4E2-AA3D6981A7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9907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ntent Placeholder 18">
            <a:extLst>
              <a:ext uri="{FF2B5EF4-FFF2-40B4-BE49-F238E27FC236}">
                <a16:creationId xmlns:a16="http://schemas.microsoft.com/office/drawing/2014/main" id="{02D6D283-8AC2-EB13-B516-0E2D9E4CBBF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05094" y="2168278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244EC714-C35F-5891-DA25-0E04F73FDC6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20281" y="2171485"/>
            <a:ext cx="3148384" cy="30192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2377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Virid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ACA0FF3-745C-B3F9-31BA-0D72F6997897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BCFC4176-9DE3-B70C-EEA6-E92C0551B1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1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605E036-9278-326A-A717-B279EB0229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78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EC896C82-CBBA-75F8-E833-2663BE43F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3781B12-EF4C-0172-7852-53CFAC014F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9226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Ca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rgbClr val="8E71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F2287E4B-F93C-8279-53D0-512F9BC584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rgbClr val="8E71F4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9BB1BAE8-29A8-75DB-FA7D-7C041D8A60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5125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13FC7D27-6AA1-E476-9F7B-96F489C753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4B05D3-3EB2-0600-A4B2-7D1D82E0A3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364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2">
            <a:extLst>
              <a:ext uri="{FF2B5EF4-FFF2-40B4-BE49-F238E27FC236}">
                <a16:creationId xmlns:a16="http://schemas.microsoft.com/office/drawing/2014/main" id="{4A211CA5-C27F-60B2-E2EB-B454A969D4D6}"/>
              </a:ext>
            </a:extLst>
          </p:cNvPr>
          <p:cNvSpPr/>
          <p:nvPr userDrawn="1"/>
        </p:nvSpPr>
        <p:spPr>
          <a:xfrm>
            <a:off x="542689" y="2076112"/>
            <a:ext cx="543873" cy="543873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FA97876-9FDD-C61E-2D58-76D5D2209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9312" y="2467915"/>
            <a:ext cx="4430065" cy="1232645"/>
          </a:xfrm>
        </p:spPr>
        <p:txBody>
          <a:bodyPr wrap="square" anchor="t">
            <a:noAutofit/>
          </a:bodyPr>
          <a:lstStyle>
            <a:lvl1pPr algn="l">
              <a:defRPr sz="8900" spc="-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84EE3B4-CEA4-6EAB-01BA-27979A1093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72251" y="696686"/>
            <a:ext cx="5121312" cy="54646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87000"/>
              </a:lnSpc>
              <a:spcBef>
                <a:spcPts val="900"/>
              </a:spcBef>
              <a:spcAft>
                <a:spcPts val="900"/>
              </a:spcAft>
              <a:buClr>
                <a:srgbClr val="8E71F4"/>
              </a:buClr>
              <a:buFont typeface="ES Build Neutral" pitchFamily="50" charset="0"/>
              <a:buChar char="​"/>
              <a:defRPr sz="3400">
                <a:solidFill>
                  <a:schemeClr val="tx1"/>
                </a:solidFill>
              </a:defRPr>
            </a:lvl1pPr>
            <a:lvl2pPr marL="7938" indent="-7938"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  <a:lvl6pPr marL="27432" indent="0">
              <a:lnSpc>
                <a:spcPct val="67000"/>
              </a:lnSpc>
              <a:spcBef>
                <a:spcPts val="600"/>
              </a:spcBef>
              <a:spcAft>
                <a:spcPts val="0"/>
              </a:spcAft>
              <a:buFont typeface="ES Build Neutral" pitchFamily="50" charset="0"/>
              <a:buChar char="​"/>
              <a:tabLst/>
              <a:defRPr sz="1200" b="0">
                <a:solidFill>
                  <a:schemeClr val="bg1"/>
                </a:solidFill>
              </a:defRPr>
            </a:lvl6pPr>
            <a:lvl7pPr marL="0" indent="0">
              <a:spcBef>
                <a:spcPts val="1500"/>
              </a:spcBef>
              <a:spcAft>
                <a:spcPts val="0"/>
              </a:spcAft>
              <a:defRPr sz="4400" spc="0" baseline="0">
                <a:solidFill>
                  <a:schemeClr val="bg1"/>
                </a:solidFill>
              </a:defRPr>
            </a:lvl7pPr>
            <a:lvl8pPr marL="27432">
              <a:spcBef>
                <a:spcPts val="0"/>
              </a:spcBef>
              <a:defRPr sz="1600" spc="0">
                <a:solidFill>
                  <a:srgbClr val="8E71F4"/>
                </a:solidFill>
                <a:latin typeface="+mn-lt"/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6"/>
            <a:r>
              <a:rPr lang="en-US" dirty="0"/>
              <a:t>Edit text</a:t>
            </a:r>
          </a:p>
          <a:p>
            <a:pPr lvl="7"/>
            <a:r>
              <a:rPr lang="en-US" dirty="0"/>
              <a:t>Edit text</a:t>
            </a:r>
          </a:p>
          <a:p>
            <a:pPr lvl="5"/>
            <a:r>
              <a:rPr lang="en-US" dirty="0"/>
              <a:t>Edi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2FEA95-2100-AF9F-EDA7-2E53B1300B0B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BF3C092-C004-F74B-E852-7CD8E875E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574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Electric Az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Text Placeholder 25">
            <a:extLst>
              <a:ext uri="{FF2B5EF4-FFF2-40B4-BE49-F238E27FC236}">
                <a16:creationId xmlns:a16="http://schemas.microsoft.com/office/drawing/2014/main" id="{1F743C81-C521-0195-D9E9-D20B49FE8C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rgbClr val="3700FF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B651381-8245-2111-67DE-8F8507F800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607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u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7E10EB5A-F6DE-9F4E-2117-2176E75AEACD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rgbClr val="FE8A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92DA30-7E49-60E7-C70F-22061A006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5">
            <a:extLst>
              <a:ext uri="{FF2B5EF4-FFF2-40B4-BE49-F238E27FC236}">
                <a16:creationId xmlns:a16="http://schemas.microsoft.com/office/drawing/2014/main" id="{EC53A6EE-15C6-E97D-4ECF-6DDC191C32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2DF844BE-99C5-C441-8EB7-130FE29E44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737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348281F-E4BF-75A0-15C8-599824A66E32}"/>
              </a:ext>
            </a:extLst>
          </p:cNvPr>
          <p:cNvSpPr/>
          <p:nvPr/>
        </p:nvSpPr>
        <p:spPr>
          <a:xfrm>
            <a:off x="0" y="0"/>
            <a:ext cx="8433622" cy="5854259"/>
          </a:xfrm>
          <a:custGeom>
            <a:avLst/>
            <a:gdLst>
              <a:gd name="connsiteX0" fmla="*/ 3920070 w 8433622"/>
              <a:gd name="connsiteY0" fmla="*/ 0 h 5854259"/>
              <a:gd name="connsiteX1" fmla="*/ 3921623 w 8433622"/>
              <a:gd name="connsiteY1" fmla="*/ 0 h 5854259"/>
              <a:gd name="connsiteX2" fmla="*/ 3942361 w 8433622"/>
              <a:gd name="connsiteY2" fmla="*/ 2150 h 5854259"/>
              <a:gd name="connsiteX3" fmla="*/ 5611946 w 8433622"/>
              <a:gd name="connsiteY3" fmla="*/ 2151 h 5854259"/>
              <a:gd name="connsiteX4" fmla="*/ 5611946 w 8433622"/>
              <a:gd name="connsiteY4" fmla="*/ 2154 h 5854259"/>
              <a:gd name="connsiteX5" fmla="*/ 6351359 w 8433622"/>
              <a:gd name="connsiteY5" fmla="*/ 2154 h 5854259"/>
              <a:gd name="connsiteX6" fmla="*/ 6351360 w 8433622"/>
              <a:gd name="connsiteY6" fmla="*/ 1330 h 5854259"/>
              <a:gd name="connsiteX7" fmla="*/ 6351361 w 8433622"/>
              <a:gd name="connsiteY7" fmla="*/ 173 h 5854259"/>
              <a:gd name="connsiteX8" fmla="*/ 7146741 w 8433622"/>
              <a:gd name="connsiteY8" fmla="*/ 0 h 5854259"/>
              <a:gd name="connsiteX9" fmla="*/ 7167509 w 8433622"/>
              <a:gd name="connsiteY9" fmla="*/ 2154 h 5854259"/>
              <a:gd name="connsiteX10" fmla="*/ 7197882 w 8433622"/>
              <a:gd name="connsiteY10" fmla="*/ 2154 h 5854259"/>
              <a:gd name="connsiteX11" fmla="*/ 7197881 w 8433622"/>
              <a:gd name="connsiteY11" fmla="*/ 5304 h 5854259"/>
              <a:gd name="connsiteX12" fmla="*/ 7255678 w 8433622"/>
              <a:gd name="connsiteY12" fmla="*/ 11299 h 5854259"/>
              <a:gd name="connsiteX13" fmla="*/ 7540283 w 8433622"/>
              <a:gd name="connsiteY13" fmla="*/ 164653 h 5854259"/>
              <a:gd name="connsiteX14" fmla="*/ 8264607 w 8433622"/>
              <a:gd name="connsiteY14" fmla="*/ 888978 h 5854259"/>
              <a:gd name="connsiteX15" fmla="*/ 8429260 w 8433622"/>
              <a:gd name="connsiteY15" fmla="*/ 1282519 h 5854259"/>
              <a:gd name="connsiteX16" fmla="*/ 8429232 w 8433622"/>
              <a:gd name="connsiteY16" fmla="*/ 1416839 h 5854259"/>
              <a:gd name="connsiteX17" fmla="*/ 8433622 w 8433622"/>
              <a:gd name="connsiteY17" fmla="*/ 1416840 h 5854259"/>
              <a:gd name="connsiteX18" fmla="*/ 8433622 w 8433622"/>
              <a:gd name="connsiteY18" fmla="*/ 5852108 h 5854259"/>
              <a:gd name="connsiteX19" fmla="*/ 7197882 w 8433622"/>
              <a:gd name="connsiteY19" fmla="*/ 5852108 h 5854259"/>
              <a:gd name="connsiteX20" fmla="*/ 7197881 w 8433622"/>
              <a:gd name="connsiteY20" fmla="*/ 5852111 h 5854259"/>
              <a:gd name="connsiteX21" fmla="*/ 5303429 w 8433622"/>
              <a:gd name="connsiteY21" fmla="*/ 5852110 h 5854259"/>
              <a:gd name="connsiteX22" fmla="*/ 5303428 w 8433622"/>
              <a:gd name="connsiteY22" fmla="*/ 5852929 h 5854259"/>
              <a:gd name="connsiteX23" fmla="*/ 5303427 w 8433622"/>
              <a:gd name="connsiteY23" fmla="*/ 5854086 h 5854259"/>
              <a:gd name="connsiteX24" fmla="*/ 4508047 w 8433622"/>
              <a:gd name="connsiteY24" fmla="*/ 5854259 h 5854259"/>
              <a:gd name="connsiteX25" fmla="*/ 4487306 w 8433622"/>
              <a:gd name="connsiteY25" fmla="*/ 5852108 h 5854259"/>
              <a:gd name="connsiteX26" fmla="*/ 3972763 w 8433622"/>
              <a:gd name="connsiteY26" fmla="*/ 5852108 h 5854259"/>
              <a:gd name="connsiteX27" fmla="*/ 3972763 w 8433622"/>
              <a:gd name="connsiteY27" fmla="*/ 5852110 h 5854259"/>
              <a:gd name="connsiteX28" fmla="*/ 2078312 w 8433622"/>
              <a:gd name="connsiteY28" fmla="*/ 5852111 h 5854259"/>
              <a:gd name="connsiteX29" fmla="*/ 2078310 w 8433622"/>
              <a:gd name="connsiteY29" fmla="*/ 5852929 h 5854259"/>
              <a:gd name="connsiteX30" fmla="*/ 2078308 w 8433622"/>
              <a:gd name="connsiteY30" fmla="*/ 5854086 h 5854259"/>
              <a:gd name="connsiteX31" fmla="*/ 1282928 w 8433622"/>
              <a:gd name="connsiteY31" fmla="*/ 5854259 h 5854259"/>
              <a:gd name="connsiteX32" fmla="*/ 889387 w 8433622"/>
              <a:gd name="connsiteY32" fmla="*/ 5689605 h 5854259"/>
              <a:gd name="connsiteX33" fmla="*/ 165062 w 8433622"/>
              <a:gd name="connsiteY33" fmla="*/ 4965281 h 5854259"/>
              <a:gd name="connsiteX34" fmla="*/ 408 w 8433622"/>
              <a:gd name="connsiteY34" fmla="*/ 4571739 h 5854259"/>
              <a:gd name="connsiteX35" fmla="*/ 438 w 8433622"/>
              <a:gd name="connsiteY35" fmla="*/ 4437419 h 5854259"/>
              <a:gd name="connsiteX36" fmla="*/ 0 w 8433622"/>
              <a:gd name="connsiteY36" fmla="*/ 4437419 h 5854259"/>
              <a:gd name="connsiteX37" fmla="*/ 0 w 8433622"/>
              <a:gd name="connsiteY37" fmla="*/ 2151 h 5854259"/>
              <a:gd name="connsiteX38" fmla="*/ 2386827 w 8433622"/>
              <a:gd name="connsiteY38" fmla="*/ 2151 h 5854259"/>
              <a:gd name="connsiteX39" fmla="*/ 2386827 w 8433622"/>
              <a:gd name="connsiteY39" fmla="*/ 2154 h 5854259"/>
              <a:gd name="connsiteX40" fmla="*/ 3126241 w 8433622"/>
              <a:gd name="connsiteY40" fmla="*/ 2154 h 5854259"/>
              <a:gd name="connsiteX41" fmla="*/ 3126241 w 8433622"/>
              <a:gd name="connsiteY41" fmla="*/ 1330 h 5854259"/>
              <a:gd name="connsiteX42" fmla="*/ 3126243 w 8433622"/>
              <a:gd name="connsiteY42" fmla="*/ 173 h 5854259"/>
              <a:gd name="connsiteX43" fmla="*/ 3920070 w 8433622"/>
              <a:gd name="connsiteY43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8433622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1194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67509" y="2154"/>
                </a:lnTo>
                <a:lnTo>
                  <a:pt x="7197882" y="2154"/>
                </a:lnTo>
                <a:lnTo>
                  <a:pt x="7197881" y="5304"/>
                </a:lnTo>
                <a:lnTo>
                  <a:pt x="7255678" y="11299"/>
                </a:lnTo>
                <a:cubicBezTo>
                  <a:pt x="7362449" y="33070"/>
                  <a:pt x="7461371" y="85742"/>
                  <a:pt x="7540283" y="164653"/>
                </a:cubicBezTo>
                <a:cubicBezTo>
                  <a:pt x="8264607" y="888978"/>
                  <a:pt x="8264607" y="888978"/>
                  <a:pt x="8264607" y="888978"/>
                </a:cubicBezTo>
                <a:cubicBezTo>
                  <a:pt x="8368715" y="993086"/>
                  <a:pt x="8428389" y="1134982"/>
                  <a:pt x="8429260" y="1282519"/>
                </a:cubicBezTo>
                <a:lnTo>
                  <a:pt x="8429232" y="1416839"/>
                </a:lnTo>
                <a:lnTo>
                  <a:pt x="8433622" y="1416840"/>
                </a:lnTo>
                <a:lnTo>
                  <a:pt x="8433622" y="5852108"/>
                </a:lnTo>
                <a:lnTo>
                  <a:pt x="7197882" y="5852108"/>
                </a:lnTo>
                <a:lnTo>
                  <a:pt x="7197881" y="5852111"/>
                </a:lnTo>
                <a:lnTo>
                  <a:pt x="5303429" y="5852110"/>
                </a:lnTo>
                <a:lnTo>
                  <a:pt x="5303428" y="5852929"/>
                </a:lnTo>
                <a:cubicBezTo>
                  <a:pt x="5303427" y="5854086"/>
                  <a:pt x="5303427" y="5854086"/>
                  <a:pt x="5303427" y="5854086"/>
                </a:cubicBezTo>
                <a:cubicBezTo>
                  <a:pt x="4508047" y="5854259"/>
                  <a:pt x="4508047" y="5854259"/>
                  <a:pt x="4508047" y="5854259"/>
                </a:cubicBezTo>
                <a:lnTo>
                  <a:pt x="4487306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Text Placeholder 25">
            <a:extLst>
              <a:ext uri="{FF2B5EF4-FFF2-40B4-BE49-F238E27FC236}">
                <a16:creationId xmlns:a16="http://schemas.microsoft.com/office/drawing/2014/main" id="{CAA64B69-6870-9345-43ED-30469132BE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77325" y="3883114"/>
            <a:ext cx="2619376" cy="28971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00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3A3FC33-1ED6-1515-EA16-01036EE16E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7325" y="4179245"/>
            <a:ext cx="2619375" cy="96108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26252F-A467-EB73-566C-0C17582F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315" y="1447799"/>
            <a:ext cx="6065385" cy="3167743"/>
          </a:xfrm>
        </p:spPr>
        <p:txBody>
          <a:bodyPr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631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Virid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2B88C-1D9B-01AB-26E3-BC8A07620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39D42FA4-97E5-2009-BCA8-2325360CAF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EAC985E-60C7-9CCC-4E69-91F96197C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5951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923696B-E6D1-2488-5D3F-68B3F6D6D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62F0885D-82A8-8F0E-A681-58B009245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3EBA2B0-AB72-511C-7F98-4BEEE74F26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4740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S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C111B-C4DA-DB86-B196-398891D51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A790AF06-497B-5541-6E7F-7A27B5278F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18999DA-13C6-1DF9-A678-6E673FDAF6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7895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Ca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rgbClr val="8E71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08AA4-21A6-A763-C113-04D0F2C3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Text Placeholder 25">
            <a:extLst>
              <a:ext uri="{FF2B5EF4-FFF2-40B4-BE49-F238E27FC236}">
                <a16:creationId xmlns:a16="http://schemas.microsoft.com/office/drawing/2014/main" id="{FF5B4CC8-BCAB-B098-1C87-6C66DABB26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F68F2A6-6656-0CB8-C928-65BEF054BA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4438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Electric Az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74613F8-95E1-898F-E892-A10CE92D3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25">
            <a:extLst>
              <a:ext uri="{FF2B5EF4-FFF2-40B4-BE49-F238E27FC236}">
                <a16:creationId xmlns:a16="http://schemas.microsoft.com/office/drawing/2014/main" id="{2BE5304D-327B-37D1-0009-A5564B1A88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E66B613-EC13-792C-8933-FE53D0C39A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1401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Segue Su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0" y="0"/>
            <a:ext cx="11688451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rgbClr val="FE8A2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9582F92-FD72-D592-598D-5A2C6A686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 anchor="ctr"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25">
            <a:extLst>
              <a:ext uri="{FF2B5EF4-FFF2-40B4-BE49-F238E27FC236}">
                <a16:creationId xmlns:a16="http://schemas.microsoft.com/office/drawing/2014/main" id="{A51FA575-D879-1736-3F6A-3D70E1E431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ection 00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43B597F-1636-E1C0-C0F7-980B564F74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6906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Segu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9F11427-BF8E-9C4B-8FF2-DBE37EBA0B06}"/>
              </a:ext>
            </a:extLst>
          </p:cNvPr>
          <p:cNvSpPr/>
          <p:nvPr/>
        </p:nvSpPr>
        <p:spPr>
          <a:xfrm>
            <a:off x="1" y="0"/>
            <a:ext cx="11637818" cy="5854259"/>
          </a:xfrm>
          <a:custGeom>
            <a:avLst/>
            <a:gdLst>
              <a:gd name="connsiteX0" fmla="*/ 3920070 w 11688451"/>
              <a:gd name="connsiteY0" fmla="*/ 0 h 5854259"/>
              <a:gd name="connsiteX1" fmla="*/ 3921623 w 11688451"/>
              <a:gd name="connsiteY1" fmla="*/ 0 h 5854259"/>
              <a:gd name="connsiteX2" fmla="*/ 3942361 w 11688451"/>
              <a:gd name="connsiteY2" fmla="*/ 2150 h 5854259"/>
              <a:gd name="connsiteX3" fmla="*/ 5611946 w 11688451"/>
              <a:gd name="connsiteY3" fmla="*/ 2151 h 5854259"/>
              <a:gd name="connsiteX4" fmla="*/ 5641656 w 11688451"/>
              <a:gd name="connsiteY4" fmla="*/ 2151 h 5854259"/>
              <a:gd name="connsiteX5" fmla="*/ 5641656 w 11688451"/>
              <a:gd name="connsiteY5" fmla="*/ 2154 h 5854259"/>
              <a:gd name="connsiteX6" fmla="*/ 6351359 w 11688451"/>
              <a:gd name="connsiteY6" fmla="*/ 2154 h 5854259"/>
              <a:gd name="connsiteX7" fmla="*/ 6351360 w 11688451"/>
              <a:gd name="connsiteY7" fmla="*/ 1330 h 5854259"/>
              <a:gd name="connsiteX8" fmla="*/ 6351361 w 11688451"/>
              <a:gd name="connsiteY8" fmla="*/ 173 h 5854259"/>
              <a:gd name="connsiteX9" fmla="*/ 7146741 w 11688451"/>
              <a:gd name="connsiteY9" fmla="*/ 0 h 5854259"/>
              <a:gd name="connsiteX10" fmla="*/ 7146804 w 11688451"/>
              <a:gd name="connsiteY10" fmla="*/ 7 h 5854259"/>
              <a:gd name="connsiteX11" fmla="*/ 7166212 w 11688451"/>
              <a:gd name="connsiteY11" fmla="*/ 2 h 5854259"/>
              <a:gd name="connsiteX12" fmla="*/ 7174899 w 11688451"/>
              <a:gd name="connsiteY12" fmla="*/ 0 h 5854259"/>
              <a:gd name="connsiteX13" fmla="*/ 7176452 w 11688451"/>
              <a:gd name="connsiteY13" fmla="*/ 0 h 5854259"/>
              <a:gd name="connsiteX14" fmla="*/ 7197190 w 11688451"/>
              <a:gd name="connsiteY14" fmla="*/ 2150 h 5854259"/>
              <a:gd name="connsiteX15" fmla="*/ 8866775 w 11688451"/>
              <a:gd name="connsiteY15" fmla="*/ 2151 h 5854259"/>
              <a:gd name="connsiteX16" fmla="*/ 8866775 w 11688451"/>
              <a:gd name="connsiteY16" fmla="*/ 2154 h 5854259"/>
              <a:gd name="connsiteX17" fmla="*/ 9606188 w 11688451"/>
              <a:gd name="connsiteY17" fmla="*/ 2154 h 5854259"/>
              <a:gd name="connsiteX18" fmla="*/ 9606189 w 11688451"/>
              <a:gd name="connsiteY18" fmla="*/ 1330 h 5854259"/>
              <a:gd name="connsiteX19" fmla="*/ 9606190 w 11688451"/>
              <a:gd name="connsiteY19" fmla="*/ 173 h 5854259"/>
              <a:gd name="connsiteX20" fmla="*/ 10401570 w 11688451"/>
              <a:gd name="connsiteY20" fmla="*/ 0 h 5854259"/>
              <a:gd name="connsiteX21" fmla="*/ 10422338 w 11688451"/>
              <a:gd name="connsiteY21" fmla="*/ 2154 h 5854259"/>
              <a:gd name="connsiteX22" fmla="*/ 10452711 w 11688451"/>
              <a:gd name="connsiteY22" fmla="*/ 2154 h 5854259"/>
              <a:gd name="connsiteX23" fmla="*/ 10452710 w 11688451"/>
              <a:gd name="connsiteY23" fmla="*/ 5304 h 5854259"/>
              <a:gd name="connsiteX24" fmla="*/ 10510507 w 11688451"/>
              <a:gd name="connsiteY24" fmla="*/ 11299 h 5854259"/>
              <a:gd name="connsiteX25" fmla="*/ 10795112 w 11688451"/>
              <a:gd name="connsiteY25" fmla="*/ 164653 h 5854259"/>
              <a:gd name="connsiteX26" fmla="*/ 11519436 w 11688451"/>
              <a:gd name="connsiteY26" fmla="*/ 888978 h 5854259"/>
              <a:gd name="connsiteX27" fmla="*/ 11684089 w 11688451"/>
              <a:gd name="connsiteY27" fmla="*/ 1282519 h 5854259"/>
              <a:gd name="connsiteX28" fmla="*/ 11684061 w 11688451"/>
              <a:gd name="connsiteY28" fmla="*/ 1416839 h 5854259"/>
              <a:gd name="connsiteX29" fmla="*/ 11688451 w 11688451"/>
              <a:gd name="connsiteY29" fmla="*/ 1416840 h 5854259"/>
              <a:gd name="connsiteX30" fmla="*/ 11688451 w 11688451"/>
              <a:gd name="connsiteY30" fmla="*/ 5852108 h 5854259"/>
              <a:gd name="connsiteX31" fmla="*/ 10452711 w 11688451"/>
              <a:gd name="connsiteY31" fmla="*/ 5852108 h 5854259"/>
              <a:gd name="connsiteX32" fmla="*/ 10452710 w 11688451"/>
              <a:gd name="connsiteY32" fmla="*/ 5852111 h 5854259"/>
              <a:gd name="connsiteX33" fmla="*/ 8558258 w 11688451"/>
              <a:gd name="connsiteY33" fmla="*/ 5852110 h 5854259"/>
              <a:gd name="connsiteX34" fmla="*/ 8558257 w 11688451"/>
              <a:gd name="connsiteY34" fmla="*/ 5852929 h 5854259"/>
              <a:gd name="connsiteX35" fmla="*/ 8558256 w 11688451"/>
              <a:gd name="connsiteY35" fmla="*/ 5854086 h 5854259"/>
              <a:gd name="connsiteX36" fmla="*/ 7762876 w 11688451"/>
              <a:gd name="connsiteY36" fmla="*/ 5854259 h 5854259"/>
              <a:gd name="connsiteX37" fmla="*/ 7742135 w 11688451"/>
              <a:gd name="connsiteY37" fmla="*/ 5852108 h 5854259"/>
              <a:gd name="connsiteX38" fmla="*/ 7227592 w 11688451"/>
              <a:gd name="connsiteY38" fmla="*/ 5852108 h 5854259"/>
              <a:gd name="connsiteX39" fmla="*/ 7227592 w 11688451"/>
              <a:gd name="connsiteY39" fmla="*/ 5852110 h 5854259"/>
              <a:gd name="connsiteX40" fmla="*/ 7197882 w 11688451"/>
              <a:gd name="connsiteY40" fmla="*/ 5852110 h 5854259"/>
              <a:gd name="connsiteX41" fmla="*/ 7197881 w 11688451"/>
              <a:gd name="connsiteY41" fmla="*/ 5852111 h 5854259"/>
              <a:gd name="connsiteX42" fmla="*/ 6265511 w 11688451"/>
              <a:gd name="connsiteY42" fmla="*/ 5852111 h 5854259"/>
              <a:gd name="connsiteX43" fmla="*/ 5333141 w 11688451"/>
              <a:gd name="connsiteY43" fmla="*/ 5852111 h 5854259"/>
              <a:gd name="connsiteX44" fmla="*/ 5333139 w 11688451"/>
              <a:gd name="connsiteY44" fmla="*/ 5852929 h 5854259"/>
              <a:gd name="connsiteX45" fmla="*/ 5333137 w 11688451"/>
              <a:gd name="connsiteY45" fmla="*/ 5854086 h 5854259"/>
              <a:gd name="connsiteX46" fmla="*/ 4537757 w 11688451"/>
              <a:gd name="connsiteY46" fmla="*/ 5854259 h 5854259"/>
              <a:gd name="connsiteX47" fmla="*/ 4537695 w 11688451"/>
              <a:gd name="connsiteY47" fmla="*/ 5854253 h 5854259"/>
              <a:gd name="connsiteX48" fmla="*/ 4520475 w 11688451"/>
              <a:gd name="connsiteY48" fmla="*/ 5854257 h 5854259"/>
              <a:gd name="connsiteX49" fmla="*/ 4508047 w 11688451"/>
              <a:gd name="connsiteY49" fmla="*/ 5854259 h 5854259"/>
              <a:gd name="connsiteX50" fmla="*/ 4487307 w 11688451"/>
              <a:gd name="connsiteY50" fmla="*/ 5852108 h 5854259"/>
              <a:gd name="connsiteX51" fmla="*/ 3972763 w 11688451"/>
              <a:gd name="connsiteY51" fmla="*/ 5852108 h 5854259"/>
              <a:gd name="connsiteX52" fmla="*/ 3972763 w 11688451"/>
              <a:gd name="connsiteY52" fmla="*/ 5852110 h 5854259"/>
              <a:gd name="connsiteX53" fmla="*/ 2078312 w 11688451"/>
              <a:gd name="connsiteY53" fmla="*/ 5852111 h 5854259"/>
              <a:gd name="connsiteX54" fmla="*/ 2078310 w 11688451"/>
              <a:gd name="connsiteY54" fmla="*/ 5852929 h 5854259"/>
              <a:gd name="connsiteX55" fmla="*/ 2078308 w 11688451"/>
              <a:gd name="connsiteY55" fmla="*/ 5854086 h 5854259"/>
              <a:gd name="connsiteX56" fmla="*/ 1282928 w 11688451"/>
              <a:gd name="connsiteY56" fmla="*/ 5854259 h 5854259"/>
              <a:gd name="connsiteX57" fmla="*/ 889387 w 11688451"/>
              <a:gd name="connsiteY57" fmla="*/ 5689605 h 5854259"/>
              <a:gd name="connsiteX58" fmla="*/ 165062 w 11688451"/>
              <a:gd name="connsiteY58" fmla="*/ 4965281 h 5854259"/>
              <a:gd name="connsiteX59" fmla="*/ 408 w 11688451"/>
              <a:gd name="connsiteY59" fmla="*/ 4571739 h 5854259"/>
              <a:gd name="connsiteX60" fmla="*/ 438 w 11688451"/>
              <a:gd name="connsiteY60" fmla="*/ 4437419 h 5854259"/>
              <a:gd name="connsiteX61" fmla="*/ 0 w 11688451"/>
              <a:gd name="connsiteY61" fmla="*/ 4437419 h 5854259"/>
              <a:gd name="connsiteX62" fmla="*/ 0 w 11688451"/>
              <a:gd name="connsiteY62" fmla="*/ 2151 h 5854259"/>
              <a:gd name="connsiteX63" fmla="*/ 2386827 w 11688451"/>
              <a:gd name="connsiteY63" fmla="*/ 2151 h 5854259"/>
              <a:gd name="connsiteX64" fmla="*/ 2386827 w 11688451"/>
              <a:gd name="connsiteY64" fmla="*/ 2154 h 5854259"/>
              <a:gd name="connsiteX65" fmla="*/ 3126241 w 11688451"/>
              <a:gd name="connsiteY65" fmla="*/ 2154 h 5854259"/>
              <a:gd name="connsiteX66" fmla="*/ 3126241 w 11688451"/>
              <a:gd name="connsiteY66" fmla="*/ 1330 h 5854259"/>
              <a:gd name="connsiteX67" fmla="*/ 3126243 w 11688451"/>
              <a:gd name="connsiteY67" fmla="*/ 173 h 5854259"/>
              <a:gd name="connsiteX68" fmla="*/ 3920070 w 11688451"/>
              <a:gd name="connsiteY68" fmla="*/ 0 h 585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1688451" h="5854259">
                <a:moveTo>
                  <a:pt x="3920070" y="0"/>
                </a:moveTo>
                <a:cubicBezTo>
                  <a:pt x="3921623" y="0"/>
                  <a:pt x="3921623" y="0"/>
                  <a:pt x="3921623" y="0"/>
                </a:cubicBezTo>
                <a:lnTo>
                  <a:pt x="3942361" y="2150"/>
                </a:lnTo>
                <a:lnTo>
                  <a:pt x="5611946" y="2151"/>
                </a:lnTo>
                <a:lnTo>
                  <a:pt x="5641656" y="2151"/>
                </a:lnTo>
                <a:lnTo>
                  <a:pt x="5641656" y="2154"/>
                </a:lnTo>
                <a:lnTo>
                  <a:pt x="6351359" y="2154"/>
                </a:lnTo>
                <a:lnTo>
                  <a:pt x="6351360" y="1330"/>
                </a:lnTo>
                <a:cubicBezTo>
                  <a:pt x="6351361" y="173"/>
                  <a:pt x="6351361" y="173"/>
                  <a:pt x="6351361" y="173"/>
                </a:cubicBezTo>
                <a:cubicBezTo>
                  <a:pt x="7146741" y="0"/>
                  <a:pt x="7146741" y="0"/>
                  <a:pt x="7146741" y="0"/>
                </a:cubicBezTo>
                <a:lnTo>
                  <a:pt x="7146804" y="7"/>
                </a:lnTo>
                <a:lnTo>
                  <a:pt x="7166212" y="2"/>
                </a:lnTo>
                <a:cubicBezTo>
                  <a:pt x="7170991" y="1"/>
                  <a:pt x="7173540" y="0"/>
                  <a:pt x="7174899" y="0"/>
                </a:cubicBezTo>
                <a:cubicBezTo>
                  <a:pt x="7176452" y="0"/>
                  <a:pt x="7176452" y="0"/>
                  <a:pt x="7176452" y="0"/>
                </a:cubicBezTo>
                <a:lnTo>
                  <a:pt x="7197190" y="2150"/>
                </a:lnTo>
                <a:lnTo>
                  <a:pt x="8866775" y="2151"/>
                </a:lnTo>
                <a:lnTo>
                  <a:pt x="8866775" y="2154"/>
                </a:lnTo>
                <a:lnTo>
                  <a:pt x="9606188" y="2154"/>
                </a:lnTo>
                <a:lnTo>
                  <a:pt x="9606189" y="1330"/>
                </a:lnTo>
                <a:cubicBezTo>
                  <a:pt x="9606190" y="173"/>
                  <a:pt x="9606190" y="173"/>
                  <a:pt x="9606190" y="173"/>
                </a:cubicBezTo>
                <a:cubicBezTo>
                  <a:pt x="10401570" y="0"/>
                  <a:pt x="10401570" y="0"/>
                  <a:pt x="10401570" y="0"/>
                </a:cubicBezTo>
                <a:lnTo>
                  <a:pt x="10422338" y="2154"/>
                </a:lnTo>
                <a:lnTo>
                  <a:pt x="10452711" y="2154"/>
                </a:lnTo>
                <a:lnTo>
                  <a:pt x="10452710" y="5304"/>
                </a:lnTo>
                <a:lnTo>
                  <a:pt x="10510507" y="11299"/>
                </a:lnTo>
                <a:cubicBezTo>
                  <a:pt x="10617278" y="33070"/>
                  <a:pt x="10716200" y="85742"/>
                  <a:pt x="10795112" y="164653"/>
                </a:cubicBezTo>
                <a:cubicBezTo>
                  <a:pt x="11519436" y="888978"/>
                  <a:pt x="11519436" y="888978"/>
                  <a:pt x="11519436" y="888978"/>
                </a:cubicBezTo>
                <a:cubicBezTo>
                  <a:pt x="11623544" y="993086"/>
                  <a:pt x="11683218" y="1134982"/>
                  <a:pt x="11684089" y="1282519"/>
                </a:cubicBezTo>
                <a:lnTo>
                  <a:pt x="11684061" y="1416839"/>
                </a:lnTo>
                <a:lnTo>
                  <a:pt x="11688451" y="1416840"/>
                </a:lnTo>
                <a:lnTo>
                  <a:pt x="11688451" y="5852108"/>
                </a:lnTo>
                <a:lnTo>
                  <a:pt x="10452711" y="5852108"/>
                </a:lnTo>
                <a:lnTo>
                  <a:pt x="10452710" y="5852111"/>
                </a:lnTo>
                <a:lnTo>
                  <a:pt x="8558258" y="5852110"/>
                </a:lnTo>
                <a:lnTo>
                  <a:pt x="8558257" y="5852929"/>
                </a:lnTo>
                <a:cubicBezTo>
                  <a:pt x="8558256" y="5854086"/>
                  <a:pt x="8558256" y="5854086"/>
                  <a:pt x="8558256" y="5854086"/>
                </a:cubicBezTo>
                <a:cubicBezTo>
                  <a:pt x="7762876" y="5854259"/>
                  <a:pt x="7762876" y="5854259"/>
                  <a:pt x="7762876" y="5854259"/>
                </a:cubicBezTo>
                <a:lnTo>
                  <a:pt x="7742135" y="5852108"/>
                </a:lnTo>
                <a:lnTo>
                  <a:pt x="7227592" y="5852108"/>
                </a:lnTo>
                <a:lnTo>
                  <a:pt x="7227592" y="5852110"/>
                </a:lnTo>
                <a:lnTo>
                  <a:pt x="7197882" y="5852110"/>
                </a:lnTo>
                <a:lnTo>
                  <a:pt x="7197881" y="5852111"/>
                </a:lnTo>
                <a:lnTo>
                  <a:pt x="6265511" y="5852111"/>
                </a:lnTo>
                <a:lnTo>
                  <a:pt x="5333141" y="5852111"/>
                </a:lnTo>
                <a:lnTo>
                  <a:pt x="5333139" y="5852929"/>
                </a:lnTo>
                <a:cubicBezTo>
                  <a:pt x="5333137" y="5854086"/>
                  <a:pt x="5333137" y="5854086"/>
                  <a:pt x="5333137" y="5854086"/>
                </a:cubicBezTo>
                <a:cubicBezTo>
                  <a:pt x="4537757" y="5854259"/>
                  <a:pt x="4537757" y="5854259"/>
                  <a:pt x="4537757" y="5854259"/>
                </a:cubicBezTo>
                <a:lnTo>
                  <a:pt x="4537695" y="5854253"/>
                </a:lnTo>
                <a:lnTo>
                  <a:pt x="4520475" y="5854257"/>
                </a:lnTo>
                <a:cubicBezTo>
                  <a:pt x="4508047" y="5854259"/>
                  <a:pt x="4508047" y="5854259"/>
                  <a:pt x="4508047" y="5854259"/>
                </a:cubicBezTo>
                <a:lnTo>
                  <a:pt x="4487307" y="5852108"/>
                </a:lnTo>
                <a:lnTo>
                  <a:pt x="3972763" y="5852108"/>
                </a:lnTo>
                <a:lnTo>
                  <a:pt x="3972763" y="5852110"/>
                </a:lnTo>
                <a:lnTo>
                  <a:pt x="2078312" y="5852111"/>
                </a:lnTo>
                <a:lnTo>
                  <a:pt x="2078310" y="5852929"/>
                </a:lnTo>
                <a:cubicBezTo>
                  <a:pt x="2078308" y="5854086"/>
                  <a:pt x="2078308" y="5854086"/>
                  <a:pt x="2078308" y="5854086"/>
                </a:cubicBezTo>
                <a:cubicBezTo>
                  <a:pt x="1282928" y="5854259"/>
                  <a:pt x="1282928" y="5854259"/>
                  <a:pt x="1282928" y="5854259"/>
                </a:cubicBezTo>
                <a:cubicBezTo>
                  <a:pt x="1135391" y="5853387"/>
                  <a:pt x="994602" y="5794821"/>
                  <a:pt x="889387" y="5689605"/>
                </a:cubicBezTo>
                <a:cubicBezTo>
                  <a:pt x="165062" y="4965281"/>
                  <a:pt x="165062" y="4965281"/>
                  <a:pt x="165062" y="4965281"/>
                </a:cubicBezTo>
                <a:cubicBezTo>
                  <a:pt x="60954" y="4861173"/>
                  <a:pt x="1280" y="4719276"/>
                  <a:pt x="408" y="4571739"/>
                </a:cubicBezTo>
                <a:lnTo>
                  <a:pt x="438" y="4437419"/>
                </a:lnTo>
                <a:lnTo>
                  <a:pt x="0" y="4437419"/>
                </a:lnTo>
                <a:lnTo>
                  <a:pt x="0" y="2151"/>
                </a:lnTo>
                <a:lnTo>
                  <a:pt x="2386827" y="2151"/>
                </a:lnTo>
                <a:lnTo>
                  <a:pt x="2386827" y="2154"/>
                </a:lnTo>
                <a:lnTo>
                  <a:pt x="3126241" y="2154"/>
                </a:lnTo>
                <a:lnTo>
                  <a:pt x="3126241" y="1330"/>
                </a:lnTo>
                <a:cubicBezTo>
                  <a:pt x="3126243" y="173"/>
                  <a:pt x="3126243" y="173"/>
                  <a:pt x="3126243" y="173"/>
                </a:cubicBezTo>
                <a:cubicBezTo>
                  <a:pt x="3822200" y="22"/>
                  <a:pt x="3909195" y="3"/>
                  <a:pt x="392007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56672E4-A86A-B455-40ED-0F18C925D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6213" y="1486886"/>
            <a:ext cx="8940800" cy="2492830"/>
          </a:xfrm>
        </p:spPr>
        <p:txBody>
          <a:bodyPr>
            <a:noAutofit/>
          </a:bodyPr>
          <a:lstStyle>
            <a:lvl1pPr>
              <a:lnSpc>
                <a:spcPct val="84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4DB632D8-1557-9CDA-6FA0-2693E3F447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46214" y="618372"/>
            <a:ext cx="2620962" cy="3973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rgbClr val="00D15F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ection 00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6BE7EFBE-D514-1C4D-E345-F2A2262F6A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213" y="4176319"/>
            <a:ext cx="8940800" cy="94159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889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 Alterna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25BE13E2-748B-9B64-4DA0-81DE83E1C334}"/>
              </a:ext>
            </a:extLst>
          </p:cNvPr>
          <p:cNvSpPr/>
          <p:nvPr userDrawn="1"/>
        </p:nvSpPr>
        <p:spPr>
          <a:xfrm>
            <a:off x="542689" y="2076112"/>
            <a:ext cx="543873" cy="543873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43303A9-0E1D-04BA-1142-15F62A5FD1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9312" y="2467915"/>
            <a:ext cx="4430065" cy="1232645"/>
          </a:xfrm>
        </p:spPr>
        <p:txBody>
          <a:bodyPr wrap="square" anchor="t">
            <a:noAutofit/>
          </a:bodyPr>
          <a:lstStyle>
            <a:lvl1pPr algn="l">
              <a:defRPr sz="8900" spc="-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11EB223-BC68-B891-0859-10B1FA954C7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72251" y="688975"/>
            <a:ext cx="5124450" cy="5480050"/>
          </a:xfrm>
        </p:spPr>
        <p:txBody>
          <a:bodyPr anchor="ctr"/>
          <a:lstStyle>
            <a:lvl1pPr marL="346075" indent="-346075">
              <a:lnSpc>
                <a:spcPct val="89000"/>
              </a:lnSpc>
              <a:buClr>
                <a:srgbClr val="8E71F4"/>
              </a:buClr>
              <a:buFont typeface="+mj-lt"/>
              <a:buAutoNum type="arabicPeriod"/>
              <a:defRPr sz="2400">
                <a:solidFill>
                  <a:schemeClr val="bg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86FCAD-686E-312D-FBB3-196C0585F3DE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03EC9D7-5055-9321-A1CD-B3E7BBB02A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622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 - Title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4B4641-564B-4F50-B919-B87A300325E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ease use Veeam approved imag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81CCBE3-AB03-CD0A-5AFC-B2D12E0E7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4712" y="1719072"/>
            <a:ext cx="2478024" cy="2633472"/>
          </a:xfrm>
        </p:spPr>
        <p:txBody>
          <a:bodyPr>
            <a:noAutofit/>
          </a:bodyPr>
          <a:lstStyle>
            <a:lvl1pPr>
              <a:defRPr sz="21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CABB1D5-9F70-0790-2CA6-EED81F873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4711" y="4462123"/>
            <a:ext cx="2478024" cy="941596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8E71F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0CD76F-39F4-0597-9293-243C3018F268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2D8D5B56-E424-6128-34B3-388FDEBB2D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  <p:sp>
        <p:nvSpPr>
          <p:cNvPr id="4" name="Footer Placeholder 66">
            <a:extLst>
              <a:ext uri="{FF2B5EF4-FFF2-40B4-BE49-F238E27FC236}">
                <a16:creationId xmlns:a16="http://schemas.microsoft.com/office/drawing/2014/main" id="{2F59360D-5ED1-6B3A-8664-732FAE5E97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4878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 Viridi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CD9A012-462B-D2A7-903C-6A1DCF4394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76842 w 12192000"/>
              <a:gd name="connsiteY1" fmla="*/ 0 h 6858000"/>
              <a:gd name="connsiteX2" fmla="*/ 7250945 w 12192000"/>
              <a:gd name="connsiteY2" fmla="*/ 6573770 h 6858000"/>
              <a:gd name="connsiteX3" fmla="*/ 7600067 w 12192000"/>
              <a:gd name="connsiteY3" fmla="*/ 6718654 h 6858000"/>
              <a:gd name="connsiteX4" fmla="*/ 7601224 w 12192000"/>
              <a:gd name="connsiteY4" fmla="*/ 6719027 h 6858000"/>
              <a:gd name="connsiteX5" fmla="*/ 7601224 w 12192000"/>
              <a:gd name="connsiteY5" fmla="*/ 6718654 h 6858000"/>
              <a:gd name="connsiteX6" fmla="*/ 7950308 w 12192000"/>
              <a:gd name="connsiteY6" fmla="*/ 6574181 h 6858000"/>
              <a:gd name="connsiteX7" fmla="*/ 12192000 w 12192000"/>
              <a:gd name="connsiteY7" fmla="*/ 2332489 h 6858000"/>
              <a:gd name="connsiteX8" fmla="*/ 12192000 w 12192000"/>
              <a:gd name="connsiteY8" fmla="*/ 6858000 h 6858000"/>
              <a:gd name="connsiteX9" fmla="*/ 2825088 w 12192000"/>
              <a:gd name="connsiteY9" fmla="*/ 6858000 h 6858000"/>
              <a:gd name="connsiteX10" fmla="*/ 2665503 w 12192000"/>
              <a:gd name="connsiteY10" fmla="*/ 6713540 h 6858000"/>
              <a:gd name="connsiteX11" fmla="*/ 0 w 12192000"/>
              <a:gd name="connsiteY11" fmla="*/ 40478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76842" y="0"/>
                </a:lnTo>
                <a:lnTo>
                  <a:pt x="7250945" y="6573770"/>
                </a:lnTo>
                <a:cubicBezTo>
                  <a:pt x="7347409" y="6670236"/>
                  <a:pt x="7473925" y="6718654"/>
                  <a:pt x="7600067" y="6718654"/>
                </a:cubicBezTo>
                <a:lnTo>
                  <a:pt x="7601224" y="6719027"/>
                </a:lnTo>
                <a:lnTo>
                  <a:pt x="7601224" y="6718654"/>
                </a:lnTo>
                <a:cubicBezTo>
                  <a:pt x="7727738" y="6718654"/>
                  <a:pt x="7853881" y="6670236"/>
                  <a:pt x="7950308" y="6574181"/>
                </a:cubicBezTo>
                <a:lnTo>
                  <a:pt x="12192000" y="2332489"/>
                </a:lnTo>
                <a:lnTo>
                  <a:pt x="12192000" y="6858000"/>
                </a:lnTo>
                <a:lnTo>
                  <a:pt x="2825088" y="6858000"/>
                </a:lnTo>
                <a:lnTo>
                  <a:pt x="2665503" y="6713540"/>
                </a:lnTo>
                <a:lnTo>
                  <a:pt x="0" y="4047865"/>
                </a:lnTo>
                <a:close/>
              </a:path>
            </a:pathLst>
          </a:custGeom>
          <a:gradFill flip="none" rotWithShape="1">
            <a:gsLst>
              <a:gs pos="56000">
                <a:srgbClr val="00D05D">
                  <a:lumMod val="60000"/>
                  <a:lumOff val="40000"/>
                  <a:alpha val="12000"/>
                </a:srgbClr>
              </a:gs>
              <a:gs pos="100000">
                <a:srgbClr val="00D05D">
                  <a:lumMod val="60000"/>
                  <a:lumOff val="40000"/>
                </a:srgbClr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93F21F-4213-B69E-35C2-E06FEA62BD24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31" name="object 2">
            <a:extLst>
              <a:ext uri="{FF2B5EF4-FFF2-40B4-BE49-F238E27FC236}">
                <a16:creationId xmlns:a16="http://schemas.microsoft.com/office/drawing/2014/main" id="{05A25A4A-FAE7-2D2B-4226-570A975BC54A}"/>
              </a:ext>
            </a:extLst>
          </p:cNvPr>
          <p:cNvSpPr/>
          <p:nvPr userDrawn="1"/>
        </p:nvSpPr>
        <p:spPr>
          <a:xfrm>
            <a:off x="1471879" y="1032627"/>
            <a:ext cx="686638" cy="686636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FF2371-56CE-DEB1-222E-662031DED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588" y="1566659"/>
            <a:ext cx="8583612" cy="3916566"/>
          </a:xfrm>
        </p:spPr>
        <p:txBody>
          <a:bodyPr anchor="t">
            <a:noAutofit/>
          </a:bodyPr>
          <a:lstStyle>
            <a:lvl1pPr>
              <a:lnSpc>
                <a:spcPct val="87000"/>
              </a:lnSpc>
              <a:defRPr lang="en-US" sz="8900" b="0" i="0" kern="1200" dirty="0">
                <a:solidFill>
                  <a:schemeClr val="accent1"/>
                </a:solidFill>
                <a:effectLst/>
                <a:latin typeface="+mj-lt"/>
                <a:ea typeface="ES Build" pitchFamily="2" charset="77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459A949-7013-B7FD-5ECA-05984FCBEE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919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CD9A012-462B-D2A7-903C-6A1DCF4394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76842 w 12192000"/>
              <a:gd name="connsiteY1" fmla="*/ 0 h 6858000"/>
              <a:gd name="connsiteX2" fmla="*/ 7250945 w 12192000"/>
              <a:gd name="connsiteY2" fmla="*/ 6573770 h 6858000"/>
              <a:gd name="connsiteX3" fmla="*/ 7600067 w 12192000"/>
              <a:gd name="connsiteY3" fmla="*/ 6718654 h 6858000"/>
              <a:gd name="connsiteX4" fmla="*/ 7601224 w 12192000"/>
              <a:gd name="connsiteY4" fmla="*/ 6719027 h 6858000"/>
              <a:gd name="connsiteX5" fmla="*/ 7601224 w 12192000"/>
              <a:gd name="connsiteY5" fmla="*/ 6718654 h 6858000"/>
              <a:gd name="connsiteX6" fmla="*/ 7950308 w 12192000"/>
              <a:gd name="connsiteY6" fmla="*/ 6574181 h 6858000"/>
              <a:gd name="connsiteX7" fmla="*/ 12192000 w 12192000"/>
              <a:gd name="connsiteY7" fmla="*/ 2332489 h 6858000"/>
              <a:gd name="connsiteX8" fmla="*/ 12192000 w 12192000"/>
              <a:gd name="connsiteY8" fmla="*/ 6858000 h 6858000"/>
              <a:gd name="connsiteX9" fmla="*/ 2825088 w 12192000"/>
              <a:gd name="connsiteY9" fmla="*/ 6858000 h 6858000"/>
              <a:gd name="connsiteX10" fmla="*/ 2665503 w 12192000"/>
              <a:gd name="connsiteY10" fmla="*/ 6713540 h 6858000"/>
              <a:gd name="connsiteX11" fmla="*/ 0 w 12192000"/>
              <a:gd name="connsiteY11" fmla="*/ 40478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76842" y="0"/>
                </a:lnTo>
                <a:lnTo>
                  <a:pt x="7250945" y="6573770"/>
                </a:lnTo>
                <a:cubicBezTo>
                  <a:pt x="7347409" y="6670236"/>
                  <a:pt x="7473925" y="6718654"/>
                  <a:pt x="7600067" y="6718654"/>
                </a:cubicBezTo>
                <a:lnTo>
                  <a:pt x="7601224" y="6719027"/>
                </a:lnTo>
                <a:lnTo>
                  <a:pt x="7601224" y="6718654"/>
                </a:lnTo>
                <a:cubicBezTo>
                  <a:pt x="7727738" y="6718654"/>
                  <a:pt x="7853881" y="6670236"/>
                  <a:pt x="7950308" y="6574181"/>
                </a:cubicBezTo>
                <a:lnTo>
                  <a:pt x="12192000" y="2332489"/>
                </a:lnTo>
                <a:lnTo>
                  <a:pt x="12192000" y="6858000"/>
                </a:lnTo>
                <a:lnTo>
                  <a:pt x="2825088" y="6858000"/>
                </a:lnTo>
                <a:lnTo>
                  <a:pt x="2665503" y="6713540"/>
                </a:lnTo>
                <a:lnTo>
                  <a:pt x="0" y="4047865"/>
                </a:lnTo>
                <a:close/>
              </a:path>
            </a:pathLst>
          </a:custGeom>
          <a:gradFill flip="none" rotWithShape="1">
            <a:gsLst>
              <a:gs pos="56000">
                <a:schemeClr val="bg1">
                  <a:lumMod val="95000"/>
                  <a:alpha val="52000"/>
                </a:schemeClr>
              </a:gs>
              <a:gs pos="100000">
                <a:schemeClr val="tx2">
                  <a:lumMod val="40000"/>
                  <a:lumOff val="60000"/>
                  <a:alpha val="54000"/>
                </a:schemeClr>
              </a:gs>
            </a:gsLst>
            <a:lin ang="27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E1EFF03-2B6D-DE21-5340-445DA0736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1719263"/>
            <a:ext cx="8597900" cy="3771899"/>
          </a:xfrm>
        </p:spPr>
        <p:txBody>
          <a:bodyPr anchor="t">
            <a:noAutofit/>
          </a:bodyPr>
          <a:lstStyle>
            <a:lvl1pPr>
              <a:lnSpc>
                <a:spcPct val="87000"/>
              </a:lnSpc>
              <a:defRPr lang="en-US" sz="8900" b="0" i="0" kern="1200" dirty="0">
                <a:solidFill>
                  <a:schemeClr val="accent1"/>
                </a:solidFill>
                <a:effectLst/>
                <a:latin typeface="+mj-lt"/>
                <a:ea typeface="ES Build" pitchFamily="2" charset="77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6" name="object 2">
            <a:extLst>
              <a:ext uri="{FF2B5EF4-FFF2-40B4-BE49-F238E27FC236}">
                <a16:creationId xmlns:a16="http://schemas.microsoft.com/office/drawing/2014/main" id="{37F595A5-0DF7-C3DE-1313-FCCFBFD328CF}"/>
              </a:ext>
            </a:extLst>
          </p:cNvPr>
          <p:cNvSpPr/>
          <p:nvPr userDrawn="1"/>
        </p:nvSpPr>
        <p:spPr>
          <a:xfrm>
            <a:off x="1471879" y="1032627"/>
            <a:ext cx="686638" cy="686636"/>
          </a:xfrm>
          <a:custGeom>
            <a:avLst/>
            <a:gdLst/>
            <a:ahLst/>
            <a:cxnLst/>
            <a:rect l="l" t="t" r="r" b="b"/>
            <a:pathLst>
              <a:path w="828675" h="828675">
                <a:moveTo>
                  <a:pt x="828121" y="0"/>
                </a:moveTo>
                <a:lnTo>
                  <a:pt x="511712" y="565"/>
                </a:lnTo>
                <a:lnTo>
                  <a:pt x="468206" y="4936"/>
                </a:lnTo>
                <a:lnTo>
                  <a:pt x="426776" y="17574"/>
                </a:lnTo>
                <a:lnTo>
                  <a:pt x="388579" y="37999"/>
                </a:lnTo>
                <a:lnTo>
                  <a:pt x="354774" y="65736"/>
                </a:lnTo>
                <a:lnTo>
                  <a:pt x="65736" y="354774"/>
                </a:lnTo>
                <a:lnTo>
                  <a:pt x="38004" y="388579"/>
                </a:lnTo>
                <a:lnTo>
                  <a:pt x="17577" y="426774"/>
                </a:lnTo>
                <a:lnTo>
                  <a:pt x="4938" y="468201"/>
                </a:lnTo>
                <a:lnTo>
                  <a:pt x="565" y="511701"/>
                </a:lnTo>
                <a:lnTo>
                  <a:pt x="0" y="828110"/>
                </a:lnTo>
                <a:lnTo>
                  <a:pt x="235553" y="828110"/>
                </a:lnTo>
                <a:lnTo>
                  <a:pt x="236087" y="280776"/>
                </a:lnTo>
                <a:lnTo>
                  <a:pt x="239616" y="263356"/>
                </a:lnTo>
                <a:lnTo>
                  <a:pt x="249213" y="249132"/>
                </a:lnTo>
                <a:lnTo>
                  <a:pt x="263438" y="239540"/>
                </a:lnTo>
                <a:lnTo>
                  <a:pt x="280850" y="236013"/>
                </a:lnTo>
                <a:lnTo>
                  <a:pt x="828121" y="235553"/>
                </a:lnTo>
                <a:lnTo>
                  <a:pt x="828121" y="0"/>
                </a:lnTo>
                <a:close/>
              </a:path>
            </a:pathLst>
          </a:custGeom>
          <a:gradFill flip="none" rotWithShape="1">
            <a:gsLst>
              <a:gs pos="0">
                <a:srgbClr val="00824A"/>
              </a:gs>
              <a:gs pos="95413">
                <a:srgbClr val="96FFA1"/>
              </a:gs>
              <a:gs pos="32000">
                <a:srgbClr val="00D05D"/>
              </a:gs>
            </a:gsLst>
            <a:lin ang="8400000" scaled="0"/>
            <a:tileRect/>
          </a:gradFill>
        </p:spPr>
        <p:txBody>
          <a:bodyPr wrap="square" lIns="0" tIns="0" rIns="0" bIns="0" rtlCol="0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4F5860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93F21F-4213-B69E-35C2-E06FEA62BD24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D5C35FF-E3DB-6882-28B9-2E52ED586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7617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/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B58D252-253C-859A-753B-BE0222265903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610984" y="416914"/>
            <a:ext cx="5829301" cy="7051271"/>
          </a:xfrm>
          <a:custGeom>
            <a:avLst/>
            <a:gdLst>
              <a:gd name="connsiteX0" fmla="*/ 0 w 6858000"/>
              <a:gd name="connsiteY0" fmla="*/ 6475591 h 8295611"/>
              <a:gd name="connsiteX1" fmla="*/ 0 w 6858000"/>
              <a:gd name="connsiteY1" fmla="*/ 0 h 8295611"/>
              <a:gd name="connsiteX2" fmla="*/ 5037655 w 6858000"/>
              <a:gd name="connsiteY2" fmla="*/ 0 h 8295611"/>
              <a:gd name="connsiteX3" fmla="*/ 5597611 w 6858000"/>
              <a:gd name="connsiteY3" fmla="*/ 231852 h 8295611"/>
              <a:gd name="connsiteX4" fmla="*/ 6626148 w 6858000"/>
              <a:gd name="connsiteY4" fmla="*/ 1260390 h 8295611"/>
              <a:gd name="connsiteX5" fmla="*/ 6858000 w 6858000"/>
              <a:gd name="connsiteY5" fmla="*/ 1820346 h 8295611"/>
              <a:gd name="connsiteX6" fmla="*/ 6858000 w 6858000"/>
              <a:gd name="connsiteY6" fmla="*/ 8295611 h 8295611"/>
              <a:gd name="connsiteX7" fmla="*/ 1820020 w 6858000"/>
              <a:gd name="connsiteY7" fmla="*/ 8295611 h 8295611"/>
              <a:gd name="connsiteX8" fmla="*/ 1260389 w 6858000"/>
              <a:gd name="connsiteY8" fmla="*/ 8063759 h 8295611"/>
              <a:gd name="connsiteX9" fmla="*/ 231852 w 6858000"/>
              <a:gd name="connsiteY9" fmla="*/ 7035547 h 8295611"/>
              <a:gd name="connsiteX10" fmla="*/ 0 w 6858000"/>
              <a:gd name="connsiteY10" fmla="*/ 6475591 h 8295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58000" h="8295611">
                <a:moveTo>
                  <a:pt x="0" y="6475591"/>
                </a:moveTo>
                <a:lnTo>
                  <a:pt x="0" y="0"/>
                </a:lnTo>
                <a:lnTo>
                  <a:pt x="5037655" y="0"/>
                </a:lnTo>
                <a:cubicBezTo>
                  <a:pt x="5247720" y="0"/>
                  <a:pt x="5449005" y="83246"/>
                  <a:pt x="5597611" y="231852"/>
                </a:cubicBezTo>
                <a:cubicBezTo>
                  <a:pt x="5972216" y="606457"/>
                  <a:pt x="6251544" y="885785"/>
                  <a:pt x="6626148" y="1260390"/>
                </a:cubicBezTo>
                <a:cubicBezTo>
                  <a:pt x="6774430" y="1408996"/>
                  <a:pt x="6858000" y="1610281"/>
                  <a:pt x="6858000" y="1820346"/>
                </a:cubicBezTo>
                <a:lnTo>
                  <a:pt x="6858000" y="8295611"/>
                </a:lnTo>
                <a:lnTo>
                  <a:pt x="1820020" y="8295611"/>
                </a:lnTo>
                <a:cubicBezTo>
                  <a:pt x="1610281" y="8295611"/>
                  <a:pt x="1408670" y="8212040"/>
                  <a:pt x="1260389" y="8063759"/>
                </a:cubicBezTo>
                <a:cubicBezTo>
                  <a:pt x="885784" y="7689154"/>
                  <a:pt x="606457" y="7409827"/>
                  <a:pt x="231852" y="7035547"/>
                </a:cubicBezTo>
                <a:cubicBezTo>
                  <a:pt x="83571" y="6886941"/>
                  <a:pt x="0" y="6685656"/>
                  <a:pt x="0" y="6475591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1018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D23A6BD4-B62E-6382-6798-23111C2BB9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25930" y="2823583"/>
            <a:ext cx="3670770" cy="128804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5000"/>
              </a:lnSpc>
              <a:buNone/>
              <a:defRPr lang="en-US" sz="3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E04F211-AE71-BEF3-3FB3-6D28A2D780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26631" y="4533160"/>
            <a:ext cx="969264" cy="969264"/>
          </a:xfrm>
          <a:prstGeom prst="roundRect">
            <a:avLst>
              <a:gd name="adj" fmla="val 10879"/>
            </a:avLst>
          </a:prstGeom>
          <a:ln>
            <a:solidFill>
              <a:schemeClr val="bg2">
                <a:lumMod val="90000"/>
              </a:schemeClr>
            </a:solidFill>
          </a:ln>
        </p:spPr>
        <p:txBody>
          <a:bodyPr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QR Code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6831001F-6EB7-EF34-88CE-32366BB78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18012" y="2012807"/>
            <a:ext cx="1660169" cy="504671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A9A0AE45-DA56-6D1B-4948-25C84CB6E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6507" y="1711325"/>
            <a:ext cx="5365743" cy="3456860"/>
          </a:xfrm>
        </p:spPr>
        <p:txBody>
          <a:bodyPr anchor="ctr">
            <a:noAutofit/>
          </a:bodyPr>
          <a:lstStyle>
            <a:lvl1pPr>
              <a:lnSpc>
                <a:spcPct val="73000"/>
              </a:lnSpc>
              <a:defRPr sz="89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pic>
        <p:nvPicPr>
          <p:cNvPr id="14" name="Picture 13">
            <a:hlinkClick r:id="rId5"/>
            <a:extLst>
              <a:ext uri="{FF2B5EF4-FFF2-40B4-BE49-F238E27FC236}">
                <a16:creationId xmlns:a16="http://schemas.microsoft.com/office/drawing/2014/main" id="{5F3C8143-545D-7556-761A-AFD7845BC6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9458" y="5893254"/>
            <a:ext cx="355199" cy="27432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6C1278E-146D-F8E3-A956-9DDEBB42775E}"/>
              </a:ext>
            </a:extLst>
          </p:cNvPr>
          <p:cNvSpPr txBox="1"/>
          <p:nvPr userDrawn="1"/>
        </p:nvSpPr>
        <p:spPr>
          <a:xfrm>
            <a:off x="510677" y="5464171"/>
            <a:ext cx="124107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00" b="0" i="0">
                <a:solidFill>
                  <a:schemeClr val="bg1"/>
                </a:solidFill>
                <a:effectLst/>
                <a:latin typeface="+mn-lt"/>
                <a:ea typeface="ES Build" pitchFamily="2" charset="77"/>
              </a:rPr>
              <a:t>Follow us!</a:t>
            </a:r>
            <a:endParaRPr lang="en-US" sz="1600">
              <a:solidFill>
                <a:schemeClr val="bg1"/>
              </a:solidFill>
              <a:latin typeface="+mn-lt"/>
              <a:ea typeface="ES Build" pitchFamily="2" charset="77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3C9D8D-3255-B440-1B5C-A97425D015C5}"/>
              </a:ext>
            </a:extLst>
          </p:cNvPr>
          <p:cNvCxnSpPr/>
          <p:nvPr userDrawn="1"/>
        </p:nvCxnSpPr>
        <p:spPr>
          <a:xfrm>
            <a:off x="3089964" y="5526724"/>
            <a:ext cx="0" cy="678583"/>
          </a:xfrm>
          <a:prstGeom prst="line">
            <a:avLst/>
          </a:prstGeom>
          <a:ln w="12700" cap="rnd">
            <a:solidFill>
              <a:schemeClr val="bg1"/>
            </a:solidFill>
            <a:round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6C50FA6-9946-FA77-E13C-D72F7A552200}"/>
              </a:ext>
            </a:extLst>
          </p:cNvPr>
          <p:cNvSpPr txBox="1"/>
          <p:nvPr userDrawn="1"/>
        </p:nvSpPr>
        <p:spPr>
          <a:xfrm>
            <a:off x="3370214" y="5464171"/>
            <a:ext cx="243496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600" b="0" i="0">
                <a:solidFill>
                  <a:schemeClr val="bg1"/>
                </a:solidFill>
                <a:effectLst/>
                <a:ea typeface="ES Build" pitchFamily="2" charset="77"/>
              </a:defRPr>
            </a:lvl1pPr>
          </a:lstStyle>
          <a:p>
            <a:r>
              <a:rPr lang="en-US"/>
              <a:t>Join the community hub: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DB5F8FA-A005-0310-0645-EF5DF183C696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2" name="Freeform 5">
            <a:hlinkClick r:id="rId7"/>
            <a:extLst>
              <a:ext uri="{FF2B5EF4-FFF2-40B4-BE49-F238E27FC236}">
                <a16:creationId xmlns:a16="http://schemas.microsoft.com/office/drawing/2014/main" id="{B2CA37FA-31FD-0DDA-8DA8-A9D959FBB564}"/>
              </a:ext>
            </a:extLst>
          </p:cNvPr>
          <p:cNvSpPr>
            <a:spLocks/>
          </p:cNvSpPr>
          <p:nvPr userDrawn="1"/>
        </p:nvSpPr>
        <p:spPr bwMode="gray">
          <a:xfrm>
            <a:off x="1087489" y="5895294"/>
            <a:ext cx="127593" cy="275200"/>
          </a:xfrm>
          <a:custGeom>
            <a:avLst/>
            <a:gdLst>
              <a:gd name="T0" fmla="*/ 60 w 90"/>
              <a:gd name="T1" fmla="*/ 193 h 193"/>
              <a:gd name="T2" fmla="*/ 20 w 90"/>
              <a:gd name="T3" fmla="*/ 193 h 193"/>
              <a:gd name="T4" fmla="*/ 20 w 90"/>
              <a:gd name="T5" fmla="*/ 97 h 193"/>
              <a:gd name="T6" fmla="*/ 0 w 90"/>
              <a:gd name="T7" fmla="*/ 97 h 193"/>
              <a:gd name="T8" fmla="*/ 0 w 90"/>
              <a:gd name="T9" fmla="*/ 63 h 193"/>
              <a:gd name="T10" fmla="*/ 20 w 90"/>
              <a:gd name="T11" fmla="*/ 63 h 193"/>
              <a:gd name="T12" fmla="*/ 20 w 90"/>
              <a:gd name="T13" fmla="*/ 44 h 193"/>
              <a:gd name="T14" fmla="*/ 63 w 90"/>
              <a:gd name="T15" fmla="*/ 0 h 193"/>
              <a:gd name="T16" fmla="*/ 89 w 90"/>
              <a:gd name="T17" fmla="*/ 0 h 193"/>
              <a:gd name="T18" fmla="*/ 89 w 90"/>
              <a:gd name="T19" fmla="*/ 34 h 193"/>
              <a:gd name="T20" fmla="*/ 73 w 90"/>
              <a:gd name="T21" fmla="*/ 34 h 193"/>
              <a:gd name="T22" fmla="*/ 60 w 90"/>
              <a:gd name="T23" fmla="*/ 47 h 193"/>
              <a:gd name="T24" fmla="*/ 60 w 90"/>
              <a:gd name="T25" fmla="*/ 63 h 193"/>
              <a:gd name="T26" fmla="*/ 90 w 90"/>
              <a:gd name="T27" fmla="*/ 63 h 193"/>
              <a:gd name="T28" fmla="*/ 86 w 90"/>
              <a:gd name="T29" fmla="*/ 97 h 193"/>
              <a:gd name="T30" fmla="*/ 60 w 90"/>
              <a:gd name="T31" fmla="*/ 97 h 193"/>
              <a:gd name="T32" fmla="*/ 60 w 90"/>
              <a:gd name="T33" fmla="*/ 1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0" h="193">
                <a:moveTo>
                  <a:pt x="60" y="193"/>
                </a:moveTo>
                <a:cubicBezTo>
                  <a:pt x="20" y="193"/>
                  <a:pt x="20" y="193"/>
                  <a:pt x="20" y="193"/>
                </a:cubicBezTo>
                <a:cubicBezTo>
                  <a:pt x="20" y="97"/>
                  <a:pt x="20" y="97"/>
                  <a:pt x="2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63"/>
                  <a:pt x="0" y="63"/>
                  <a:pt x="0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16"/>
                  <a:pt x="31" y="0"/>
                  <a:pt x="63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9" y="34"/>
                  <a:pt x="89" y="34"/>
                  <a:pt x="89" y="34"/>
                </a:cubicBezTo>
                <a:cubicBezTo>
                  <a:pt x="73" y="34"/>
                  <a:pt x="73" y="34"/>
                  <a:pt x="73" y="34"/>
                </a:cubicBezTo>
                <a:cubicBezTo>
                  <a:pt x="60" y="34"/>
                  <a:pt x="60" y="38"/>
                  <a:pt x="60" y="47"/>
                </a:cubicBezTo>
                <a:cubicBezTo>
                  <a:pt x="60" y="63"/>
                  <a:pt x="60" y="63"/>
                  <a:pt x="60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86" y="97"/>
                  <a:pt x="86" y="97"/>
                  <a:pt x="86" y="97"/>
                </a:cubicBezTo>
                <a:cubicBezTo>
                  <a:pt x="60" y="97"/>
                  <a:pt x="60" y="97"/>
                  <a:pt x="60" y="97"/>
                </a:cubicBezTo>
                <a:lnTo>
                  <a:pt x="60" y="1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S Build" pitchFamily="50" charset="0"/>
              <a:ea typeface="+mn-ea"/>
              <a:cs typeface="+mn-cs"/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3E87B232-E1D1-22FC-6FD2-BD6F62EA4F2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935296" y="5891573"/>
            <a:ext cx="278329" cy="278565"/>
            <a:chOff x="2653" y="972"/>
            <a:chExt cx="2372" cy="2374"/>
          </a:xfrm>
          <a:solidFill>
            <a:schemeClr val="bg1"/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E37D9FC-19CE-149B-B296-AD52CDC6D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3" y="972"/>
              <a:ext cx="2372" cy="2374"/>
            </a:xfrm>
            <a:custGeom>
              <a:avLst/>
              <a:gdLst>
                <a:gd name="T0" fmla="*/ 1008 w 2016"/>
                <a:gd name="T1" fmla="*/ 182 h 2016"/>
                <a:gd name="T2" fmla="*/ 1415 w 2016"/>
                <a:gd name="T3" fmla="*/ 188 h 2016"/>
                <a:gd name="T4" fmla="*/ 1602 w 2016"/>
                <a:gd name="T5" fmla="*/ 222 h 2016"/>
                <a:gd name="T6" fmla="*/ 1718 w 2016"/>
                <a:gd name="T7" fmla="*/ 298 h 2016"/>
                <a:gd name="T8" fmla="*/ 1794 w 2016"/>
                <a:gd name="T9" fmla="*/ 414 h 2016"/>
                <a:gd name="T10" fmla="*/ 1828 w 2016"/>
                <a:gd name="T11" fmla="*/ 601 h 2016"/>
                <a:gd name="T12" fmla="*/ 1834 w 2016"/>
                <a:gd name="T13" fmla="*/ 1008 h 2016"/>
                <a:gd name="T14" fmla="*/ 1828 w 2016"/>
                <a:gd name="T15" fmla="*/ 1415 h 2016"/>
                <a:gd name="T16" fmla="*/ 1794 w 2016"/>
                <a:gd name="T17" fmla="*/ 1602 h 2016"/>
                <a:gd name="T18" fmla="*/ 1718 w 2016"/>
                <a:gd name="T19" fmla="*/ 1718 h 2016"/>
                <a:gd name="T20" fmla="*/ 1602 w 2016"/>
                <a:gd name="T21" fmla="*/ 1794 h 2016"/>
                <a:gd name="T22" fmla="*/ 1415 w 2016"/>
                <a:gd name="T23" fmla="*/ 1828 h 2016"/>
                <a:gd name="T24" fmla="*/ 1008 w 2016"/>
                <a:gd name="T25" fmla="*/ 1834 h 2016"/>
                <a:gd name="T26" fmla="*/ 601 w 2016"/>
                <a:gd name="T27" fmla="*/ 1828 h 2016"/>
                <a:gd name="T28" fmla="*/ 414 w 2016"/>
                <a:gd name="T29" fmla="*/ 1794 h 2016"/>
                <a:gd name="T30" fmla="*/ 298 w 2016"/>
                <a:gd name="T31" fmla="*/ 1718 h 2016"/>
                <a:gd name="T32" fmla="*/ 222 w 2016"/>
                <a:gd name="T33" fmla="*/ 1602 h 2016"/>
                <a:gd name="T34" fmla="*/ 188 w 2016"/>
                <a:gd name="T35" fmla="*/ 1415 h 2016"/>
                <a:gd name="T36" fmla="*/ 182 w 2016"/>
                <a:gd name="T37" fmla="*/ 1008 h 2016"/>
                <a:gd name="T38" fmla="*/ 188 w 2016"/>
                <a:gd name="T39" fmla="*/ 601 h 2016"/>
                <a:gd name="T40" fmla="*/ 222 w 2016"/>
                <a:gd name="T41" fmla="*/ 414 h 2016"/>
                <a:gd name="T42" fmla="*/ 298 w 2016"/>
                <a:gd name="T43" fmla="*/ 298 h 2016"/>
                <a:gd name="T44" fmla="*/ 414 w 2016"/>
                <a:gd name="T45" fmla="*/ 222 h 2016"/>
                <a:gd name="T46" fmla="*/ 601 w 2016"/>
                <a:gd name="T47" fmla="*/ 188 h 2016"/>
                <a:gd name="T48" fmla="*/ 1008 w 2016"/>
                <a:gd name="T49" fmla="*/ 182 h 2016"/>
                <a:gd name="T50" fmla="*/ 1008 w 2016"/>
                <a:gd name="T51" fmla="*/ 0 h 2016"/>
                <a:gd name="T52" fmla="*/ 593 w 2016"/>
                <a:gd name="T53" fmla="*/ 6 h 2016"/>
                <a:gd name="T54" fmla="*/ 348 w 2016"/>
                <a:gd name="T55" fmla="*/ 53 h 2016"/>
                <a:gd name="T56" fmla="*/ 169 w 2016"/>
                <a:gd name="T57" fmla="*/ 169 h 2016"/>
                <a:gd name="T58" fmla="*/ 53 w 2016"/>
                <a:gd name="T59" fmla="*/ 348 h 2016"/>
                <a:gd name="T60" fmla="*/ 6 w 2016"/>
                <a:gd name="T61" fmla="*/ 593 h 2016"/>
                <a:gd name="T62" fmla="*/ 0 w 2016"/>
                <a:gd name="T63" fmla="*/ 1008 h 2016"/>
                <a:gd name="T64" fmla="*/ 6 w 2016"/>
                <a:gd name="T65" fmla="*/ 1423 h 2016"/>
                <a:gd name="T66" fmla="*/ 53 w 2016"/>
                <a:gd name="T67" fmla="*/ 1668 h 2016"/>
                <a:gd name="T68" fmla="*/ 169 w 2016"/>
                <a:gd name="T69" fmla="*/ 1847 h 2016"/>
                <a:gd name="T70" fmla="*/ 348 w 2016"/>
                <a:gd name="T71" fmla="*/ 1963 h 2016"/>
                <a:gd name="T72" fmla="*/ 593 w 2016"/>
                <a:gd name="T73" fmla="*/ 2010 h 2016"/>
                <a:gd name="T74" fmla="*/ 1008 w 2016"/>
                <a:gd name="T75" fmla="*/ 2016 h 2016"/>
                <a:gd name="T76" fmla="*/ 1423 w 2016"/>
                <a:gd name="T77" fmla="*/ 2010 h 2016"/>
                <a:gd name="T78" fmla="*/ 1668 w 2016"/>
                <a:gd name="T79" fmla="*/ 1963 h 2016"/>
                <a:gd name="T80" fmla="*/ 1847 w 2016"/>
                <a:gd name="T81" fmla="*/ 1847 h 2016"/>
                <a:gd name="T82" fmla="*/ 1963 w 2016"/>
                <a:gd name="T83" fmla="*/ 1668 h 2016"/>
                <a:gd name="T84" fmla="*/ 2010 w 2016"/>
                <a:gd name="T85" fmla="*/ 1423 h 2016"/>
                <a:gd name="T86" fmla="*/ 2016 w 2016"/>
                <a:gd name="T87" fmla="*/ 1008 h 2016"/>
                <a:gd name="T88" fmla="*/ 2010 w 2016"/>
                <a:gd name="T89" fmla="*/ 593 h 2016"/>
                <a:gd name="T90" fmla="*/ 1963 w 2016"/>
                <a:gd name="T91" fmla="*/ 348 h 2016"/>
                <a:gd name="T92" fmla="*/ 1847 w 2016"/>
                <a:gd name="T93" fmla="*/ 169 h 2016"/>
                <a:gd name="T94" fmla="*/ 1668 w 2016"/>
                <a:gd name="T95" fmla="*/ 53 h 2016"/>
                <a:gd name="T96" fmla="*/ 1423 w 2016"/>
                <a:gd name="T97" fmla="*/ 6 h 2016"/>
                <a:gd name="T98" fmla="*/ 1008 w 2016"/>
                <a:gd name="T99" fmla="*/ 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6" h="2016">
                  <a:moveTo>
                    <a:pt x="1008" y="182"/>
                  </a:moveTo>
                  <a:cubicBezTo>
                    <a:pt x="1277" y="182"/>
                    <a:pt x="1309" y="183"/>
                    <a:pt x="1415" y="188"/>
                  </a:cubicBezTo>
                  <a:cubicBezTo>
                    <a:pt x="1513" y="192"/>
                    <a:pt x="1567" y="209"/>
                    <a:pt x="1602" y="222"/>
                  </a:cubicBezTo>
                  <a:cubicBezTo>
                    <a:pt x="1649" y="241"/>
                    <a:pt x="1683" y="263"/>
                    <a:pt x="1718" y="298"/>
                  </a:cubicBezTo>
                  <a:cubicBezTo>
                    <a:pt x="1753" y="333"/>
                    <a:pt x="1775" y="367"/>
                    <a:pt x="1794" y="414"/>
                  </a:cubicBezTo>
                  <a:cubicBezTo>
                    <a:pt x="1807" y="449"/>
                    <a:pt x="1824" y="503"/>
                    <a:pt x="1828" y="601"/>
                  </a:cubicBezTo>
                  <a:cubicBezTo>
                    <a:pt x="1833" y="707"/>
                    <a:pt x="1834" y="739"/>
                    <a:pt x="1834" y="1008"/>
                  </a:cubicBezTo>
                  <a:cubicBezTo>
                    <a:pt x="1834" y="1277"/>
                    <a:pt x="1833" y="1309"/>
                    <a:pt x="1828" y="1415"/>
                  </a:cubicBezTo>
                  <a:cubicBezTo>
                    <a:pt x="1824" y="1513"/>
                    <a:pt x="1807" y="1567"/>
                    <a:pt x="1794" y="1602"/>
                  </a:cubicBezTo>
                  <a:cubicBezTo>
                    <a:pt x="1775" y="1649"/>
                    <a:pt x="1753" y="1683"/>
                    <a:pt x="1718" y="1718"/>
                  </a:cubicBezTo>
                  <a:cubicBezTo>
                    <a:pt x="1683" y="1753"/>
                    <a:pt x="1649" y="1775"/>
                    <a:pt x="1602" y="1794"/>
                  </a:cubicBezTo>
                  <a:cubicBezTo>
                    <a:pt x="1567" y="1807"/>
                    <a:pt x="1513" y="1824"/>
                    <a:pt x="1415" y="1828"/>
                  </a:cubicBezTo>
                  <a:cubicBezTo>
                    <a:pt x="1309" y="1833"/>
                    <a:pt x="1277" y="1834"/>
                    <a:pt x="1008" y="1834"/>
                  </a:cubicBezTo>
                  <a:cubicBezTo>
                    <a:pt x="739" y="1834"/>
                    <a:pt x="707" y="1833"/>
                    <a:pt x="601" y="1828"/>
                  </a:cubicBezTo>
                  <a:cubicBezTo>
                    <a:pt x="503" y="1824"/>
                    <a:pt x="449" y="1807"/>
                    <a:pt x="414" y="1794"/>
                  </a:cubicBezTo>
                  <a:cubicBezTo>
                    <a:pt x="367" y="1775"/>
                    <a:pt x="333" y="1753"/>
                    <a:pt x="298" y="1718"/>
                  </a:cubicBezTo>
                  <a:cubicBezTo>
                    <a:pt x="263" y="1683"/>
                    <a:pt x="241" y="1649"/>
                    <a:pt x="222" y="1602"/>
                  </a:cubicBezTo>
                  <a:cubicBezTo>
                    <a:pt x="209" y="1567"/>
                    <a:pt x="192" y="1513"/>
                    <a:pt x="188" y="1415"/>
                  </a:cubicBezTo>
                  <a:cubicBezTo>
                    <a:pt x="183" y="1309"/>
                    <a:pt x="182" y="1277"/>
                    <a:pt x="182" y="1008"/>
                  </a:cubicBezTo>
                  <a:cubicBezTo>
                    <a:pt x="182" y="739"/>
                    <a:pt x="183" y="707"/>
                    <a:pt x="188" y="601"/>
                  </a:cubicBezTo>
                  <a:cubicBezTo>
                    <a:pt x="192" y="503"/>
                    <a:pt x="209" y="449"/>
                    <a:pt x="222" y="414"/>
                  </a:cubicBezTo>
                  <a:cubicBezTo>
                    <a:pt x="241" y="367"/>
                    <a:pt x="263" y="333"/>
                    <a:pt x="298" y="298"/>
                  </a:cubicBezTo>
                  <a:cubicBezTo>
                    <a:pt x="333" y="263"/>
                    <a:pt x="367" y="241"/>
                    <a:pt x="414" y="222"/>
                  </a:cubicBezTo>
                  <a:cubicBezTo>
                    <a:pt x="449" y="209"/>
                    <a:pt x="503" y="192"/>
                    <a:pt x="601" y="188"/>
                  </a:cubicBezTo>
                  <a:cubicBezTo>
                    <a:pt x="707" y="183"/>
                    <a:pt x="739" y="182"/>
                    <a:pt x="1008" y="182"/>
                  </a:cubicBezTo>
                  <a:moveTo>
                    <a:pt x="1008" y="0"/>
                  </a:moveTo>
                  <a:cubicBezTo>
                    <a:pt x="734" y="0"/>
                    <a:pt x="700" y="1"/>
                    <a:pt x="593" y="6"/>
                  </a:cubicBezTo>
                  <a:cubicBezTo>
                    <a:pt x="485" y="11"/>
                    <a:pt x="412" y="28"/>
                    <a:pt x="348" y="53"/>
                  </a:cubicBezTo>
                  <a:cubicBezTo>
                    <a:pt x="282" y="79"/>
                    <a:pt x="225" y="113"/>
                    <a:pt x="169" y="169"/>
                  </a:cubicBezTo>
                  <a:cubicBezTo>
                    <a:pt x="113" y="225"/>
                    <a:pt x="79" y="282"/>
                    <a:pt x="53" y="348"/>
                  </a:cubicBezTo>
                  <a:cubicBezTo>
                    <a:pt x="28" y="412"/>
                    <a:pt x="11" y="485"/>
                    <a:pt x="6" y="593"/>
                  </a:cubicBezTo>
                  <a:cubicBezTo>
                    <a:pt x="1" y="700"/>
                    <a:pt x="0" y="734"/>
                    <a:pt x="0" y="1008"/>
                  </a:cubicBezTo>
                  <a:cubicBezTo>
                    <a:pt x="0" y="1282"/>
                    <a:pt x="1" y="1316"/>
                    <a:pt x="6" y="1423"/>
                  </a:cubicBezTo>
                  <a:cubicBezTo>
                    <a:pt x="11" y="1531"/>
                    <a:pt x="28" y="1604"/>
                    <a:pt x="53" y="1668"/>
                  </a:cubicBezTo>
                  <a:cubicBezTo>
                    <a:pt x="79" y="1734"/>
                    <a:pt x="113" y="1791"/>
                    <a:pt x="169" y="1847"/>
                  </a:cubicBezTo>
                  <a:cubicBezTo>
                    <a:pt x="225" y="1903"/>
                    <a:pt x="282" y="1937"/>
                    <a:pt x="348" y="1963"/>
                  </a:cubicBezTo>
                  <a:cubicBezTo>
                    <a:pt x="412" y="1988"/>
                    <a:pt x="485" y="2005"/>
                    <a:pt x="593" y="2010"/>
                  </a:cubicBezTo>
                  <a:cubicBezTo>
                    <a:pt x="700" y="2015"/>
                    <a:pt x="734" y="2016"/>
                    <a:pt x="1008" y="2016"/>
                  </a:cubicBezTo>
                  <a:cubicBezTo>
                    <a:pt x="1282" y="2016"/>
                    <a:pt x="1316" y="2015"/>
                    <a:pt x="1423" y="2010"/>
                  </a:cubicBezTo>
                  <a:cubicBezTo>
                    <a:pt x="1531" y="2005"/>
                    <a:pt x="1604" y="1988"/>
                    <a:pt x="1668" y="1963"/>
                  </a:cubicBezTo>
                  <a:cubicBezTo>
                    <a:pt x="1734" y="1937"/>
                    <a:pt x="1791" y="1903"/>
                    <a:pt x="1847" y="1847"/>
                  </a:cubicBezTo>
                  <a:cubicBezTo>
                    <a:pt x="1903" y="1791"/>
                    <a:pt x="1937" y="1734"/>
                    <a:pt x="1963" y="1668"/>
                  </a:cubicBezTo>
                  <a:cubicBezTo>
                    <a:pt x="1988" y="1604"/>
                    <a:pt x="2005" y="1531"/>
                    <a:pt x="2010" y="1423"/>
                  </a:cubicBezTo>
                  <a:cubicBezTo>
                    <a:pt x="2015" y="1316"/>
                    <a:pt x="2016" y="1282"/>
                    <a:pt x="2016" y="1008"/>
                  </a:cubicBezTo>
                  <a:cubicBezTo>
                    <a:pt x="2016" y="734"/>
                    <a:pt x="2015" y="700"/>
                    <a:pt x="2010" y="593"/>
                  </a:cubicBezTo>
                  <a:cubicBezTo>
                    <a:pt x="2005" y="485"/>
                    <a:pt x="1988" y="412"/>
                    <a:pt x="1963" y="348"/>
                  </a:cubicBezTo>
                  <a:cubicBezTo>
                    <a:pt x="1937" y="282"/>
                    <a:pt x="1903" y="225"/>
                    <a:pt x="1847" y="169"/>
                  </a:cubicBezTo>
                  <a:cubicBezTo>
                    <a:pt x="1791" y="113"/>
                    <a:pt x="1734" y="79"/>
                    <a:pt x="1668" y="53"/>
                  </a:cubicBezTo>
                  <a:cubicBezTo>
                    <a:pt x="1604" y="28"/>
                    <a:pt x="1531" y="11"/>
                    <a:pt x="1423" y="6"/>
                  </a:cubicBezTo>
                  <a:cubicBezTo>
                    <a:pt x="1316" y="1"/>
                    <a:pt x="1282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7" name="Freeform 6">
              <a:hlinkClick r:id="rId8"/>
              <a:extLst>
                <a:ext uri="{FF2B5EF4-FFF2-40B4-BE49-F238E27FC236}">
                  <a16:creationId xmlns:a16="http://schemas.microsoft.com/office/drawing/2014/main" id="{B6D80A34-8F92-36AF-0DF3-0F1E57CB1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1" y="1550"/>
              <a:ext cx="1216" cy="1218"/>
            </a:xfrm>
            <a:custGeom>
              <a:avLst/>
              <a:gdLst>
                <a:gd name="T0" fmla="*/ 517 w 1034"/>
                <a:gd name="T1" fmla="*/ 0 h 1034"/>
                <a:gd name="T2" fmla="*/ 0 w 1034"/>
                <a:gd name="T3" fmla="*/ 517 h 1034"/>
                <a:gd name="T4" fmla="*/ 517 w 1034"/>
                <a:gd name="T5" fmla="*/ 1034 h 1034"/>
                <a:gd name="T6" fmla="*/ 1034 w 1034"/>
                <a:gd name="T7" fmla="*/ 517 h 1034"/>
                <a:gd name="T8" fmla="*/ 517 w 1034"/>
                <a:gd name="T9" fmla="*/ 0 h 1034"/>
                <a:gd name="T10" fmla="*/ 517 w 1034"/>
                <a:gd name="T11" fmla="*/ 853 h 1034"/>
                <a:gd name="T12" fmla="*/ 181 w 1034"/>
                <a:gd name="T13" fmla="*/ 517 h 1034"/>
                <a:gd name="T14" fmla="*/ 517 w 1034"/>
                <a:gd name="T15" fmla="*/ 181 h 1034"/>
                <a:gd name="T16" fmla="*/ 853 w 1034"/>
                <a:gd name="T17" fmla="*/ 517 h 1034"/>
                <a:gd name="T18" fmla="*/ 517 w 1034"/>
                <a:gd name="T19" fmla="*/ 853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4" h="1034">
                  <a:moveTo>
                    <a:pt x="517" y="0"/>
                  </a:moveTo>
                  <a:cubicBezTo>
                    <a:pt x="231" y="0"/>
                    <a:pt x="0" y="231"/>
                    <a:pt x="0" y="517"/>
                  </a:cubicBezTo>
                  <a:cubicBezTo>
                    <a:pt x="0" y="803"/>
                    <a:pt x="231" y="1034"/>
                    <a:pt x="517" y="1034"/>
                  </a:cubicBezTo>
                  <a:cubicBezTo>
                    <a:pt x="803" y="1034"/>
                    <a:pt x="1034" y="803"/>
                    <a:pt x="1034" y="517"/>
                  </a:cubicBezTo>
                  <a:cubicBezTo>
                    <a:pt x="1034" y="231"/>
                    <a:pt x="803" y="0"/>
                    <a:pt x="517" y="0"/>
                  </a:cubicBezTo>
                  <a:close/>
                  <a:moveTo>
                    <a:pt x="517" y="853"/>
                  </a:moveTo>
                  <a:cubicBezTo>
                    <a:pt x="331" y="853"/>
                    <a:pt x="181" y="703"/>
                    <a:pt x="181" y="517"/>
                  </a:cubicBezTo>
                  <a:cubicBezTo>
                    <a:pt x="181" y="331"/>
                    <a:pt x="331" y="181"/>
                    <a:pt x="517" y="181"/>
                  </a:cubicBezTo>
                  <a:cubicBezTo>
                    <a:pt x="703" y="181"/>
                    <a:pt x="853" y="331"/>
                    <a:pt x="853" y="517"/>
                  </a:cubicBezTo>
                  <a:cubicBezTo>
                    <a:pt x="853" y="703"/>
                    <a:pt x="703" y="853"/>
                    <a:pt x="517" y="8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5944121-AD8B-4E17-C722-AD67B8DF4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9" y="1383"/>
              <a:ext cx="285" cy="28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</p:grpSp>
      <p:pic>
        <p:nvPicPr>
          <p:cNvPr id="9" name="Graphic 8">
            <a:hlinkClick r:id="rId9"/>
            <a:extLst>
              <a:ext uri="{FF2B5EF4-FFF2-40B4-BE49-F238E27FC236}">
                <a16:creationId xmlns:a16="http://schemas.microsoft.com/office/drawing/2014/main" id="{F18642EC-384D-4ADF-0F36-01B0708FF6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38744" y="5909556"/>
            <a:ext cx="278327" cy="260582"/>
          </a:xfrm>
          <a:prstGeom prst="rect">
            <a:avLst/>
          </a:prstGeom>
        </p:spPr>
      </p:pic>
      <p:pic>
        <p:nvPicPr>
          <p:cNvPr id="10" name="Picture 9">
            <a:hlinkClick r:id="rId12"/>
            <a:extLst>
              <a:ext uri="{FF2B5EF4-FFF2-40B4-BE49-F238E27FC236}">
                <a16:creationId xmlns:a16="http://schemas.microsoft.com/office/drawing/2014/main" id="{C24EFE93-9073-F9A8-9E94-906E07AEFB8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4421" y="5889009"/>
            <a:ext cx="397241" cy="278565"/>
          </a:xfrm>
          <a:prstGeom prst="rect">
            <a:avLst/>
          </a:prstGeom>
        </p:spPr>
      </p:pic>
      <p:pic>
        <p:nvPicPr>
          <p:cNvPr id="11" name="Picture 10" descr="A blue and black logo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21C7C6C8-984E-3E78-C3FA-0B18CBA0F0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biLevel thresh="25000"/>
          </a:blip>
          <a:srcRect r="14227"/>
          <a:stretch/>
        </p:blipFill>
        <p:spPr>
          <a:xfrm>
            <a:off x="510677" y="5832610"/>
            <a:ext cx="353151" cy="34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5267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/Content Ca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83018BE-0E5C-5567-71DB-248007C8D08B}"/>
              </a:ext>
            </a:extLst>
          </p:cNvPr>
          <p:cNvSpPr/>
          <p:nvPr userDrawn="1"/>
        </p:nvSpPr>
        <p:spPr>
          <a:xfrm rot="5400000">
            <a:off x="610984" y="417716"/>
            <a:ext cx="5829301" cy="7051270"/>
          </a:xfrm>
          <a:custGeom>
            <a:avLst/>
            <a:gdLst>
              <a:gd name="connsiteX0" fmla="*/ 0 w 5829301"/>
              <a:gd name="connsiteY0" fmla="*/ 5504253 h 7051270"/>
              <a:gd name="connsiteX1" fmla="*/ 0 w 5829301"/>
              <a:gd name="connsiteY1" fmla="*/ 0 h 7051270"/>
              <a:gd name="connsiteX2" fmla="*/ 4282007 w 5829301"/>
              <a:gd name="connsiteY2" fmla="*/ 0 h 7051270"/>
              <a:gd name="connsiteX3" fmla="*/ 4757970 w 5829301"/>
              <a:gd name="connsiteY3" fmla="*/ 197074 h 7051270"/>
              <a:gd name="connsiteX4" fmla="*/ 5632227 w 5829301"/>
              <a:gd name="connsiteY4" fmla="*/ 1071332 h 7051270"/>
              <a:gd name="connsiteX5" fmla="*/ 5829301 w 5829301"/>
              <a:gd name="connsiteY5" fmla="*/ 1547294 h 7051270"/>
              <a:gd name="connsiteX6" fmla="*/ 5829301 w 5829301"/>
              <a:gd name="connsiteY6" fmla="*/ 7051270 h 7051270"/>
              <a:gd name="connsiteX7" fmla="*/ 1547017 w 5829301"/>
              <a:gd name="connsiteY7" fmla="*/ 7051270 h 7051270"/>
              <a:gd name="connsiteX8" fmla="*/ 1071330 w 5829301"/>
              <a:gd name="connsiteY8" fmla="*/ 6854196 h 7051270"/>
              <a:gd name="connsiteX9" fmla="*/ 197074 w 5829301"/>
              <a:gd name="connsiteY9" fmla="*/ 5980216 h 7051270"/>
              <a:gd name="connsiteX10" fmla="*/ 0 w 5829301"/>
              <a:gd name="connsiteY10" fmla="*/ 5504253 h 7051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29301" h="7051270">
                <a:moveTo>
                  <a:pt x="0" y="5504253"/>
                </a:moveTo>
                <a:lnTo>
                  <a:pt x="0" y="0"/>
                </a:lnTo>
                <a:lnTo>
                  <a:pt x="4282007" y="0"/>
                </a:lnTo>
                <a:cubicBezTo>
                  <a:pt x="4460563" y="0"/>
                  <a:pt x="4631655" y="70759"/>
                  <a:pt x="4757970" y="197074"/>
                </a:cubicBezTo>
                <a:cubicBezTo>
                  <a:pt x="5076384" y="515488"/>
                  <a:pt x="5313813" y="752917"/>
                  <a:pt x="5632227" y="1071332"/>
                </a:cubicBezTo>
                <a:cubicBezTo>
                  <a:pt x="5758266" y="1197647"/>
                  <a:pt x="5829301" y="1368739"/>
                  <a:pt x="5829301" y="1547294"/>
                </a:cubicBezTo>
                <a:lnTo>
                  <a:pt x="5829301" y="7051270"/>
                </a:lnTo>
                <a:lnTo>
                  <a:pt x="1547017" y="7051270"/>
                </a:lnTo>
                <a:cubicBezTo>
                  <a:pt x="1368739" y="7051270"/>
                  <a:pt x="1197369" y="6980235"/>
                  <a:pt x="1071330" y="6854196"/>
                </a:cubicBezTo>
                <a:cubicBezTo>
                  <a:pt x="752916" y="6535782"/>
                  <a:pt x="515488" y="6298354"/>
                  <a:pt x="197074" y="5980216"/>
                </a:cubicBezTo>
                <a:cubicBezTo>
                  <a:pt x="71035" y="5853900"/>
                  <a:pt x="0" y="5682808"/>
                  <a:pt x="0" y="550425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 w="1018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7B89D29C-7E11-55C1-6D47-78CD92D7A5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25930" y="2823583"/>
            <a:ext cx="3670770" cy="128804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5000"/>
              </a:lnSpc>
              <a:buNone/>
              <a:defRPr lang="en-US" sz="3400" kern="1200" dirty="0">
                <a:solidFill>
                  <a:schemeClr val="tx1"/>
                </a:solidFill>
                <a:latin typeface="ES Build 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395F42-A2DA-275F-DBE9-4026407238CC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203D5C4-63D0-301C-00C1-754668FCB3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26631" y="4533160"/>
            <a:ext cx="969264" cy="969264"/>
          </a:xfrm>
          <a:prstGeom prst="roundRect">
            <a:avLst>
              <a:gd name="adj" fmla="val 10879"/>
            </a:avLst>
          </a:prstGeom>
          <a:ln>
            <a:solidFill>
              <a:schemeClr val="bg2">
                <a:lumMod val="90000"/>
              </a:schemeClr>
            </a:solidFill>
          </a:ln>
        </p:spPr>
        <p:txBody>
          <a:bodyPr/>
          <a:lstStyle>
            <a:lvl1pPr algn="ctr"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QR Cod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EB05BE9-D4E7-BCD2-39AA-AAC50A2A46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18012" y="2012807"/>
            <a:ext cx="1660169" cy="504671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40868D98-0580-0966-6222-3D31957441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6501" y="1711325"/>
            <a:ext cx="5365747" cy="3456860"/>
          </a:xfrm>
        </p:spPr>
        <p:txBody>
          <a:bodyPr anchor="ctr">
            <a:noAutofit/>
          </a:bodyPr>
          <a:lstStyle>
            <a:lvl1pPr>
              <a:lnSpc>
                <a:spcPct val="73000"/>
              </a:lnSpc>
              <a:defRPr sz="8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60C7250-ED3F-7083-BE33-003FABD467DA}"/>
              </a:ext>
            </a:extLst>
          </p:cNvPr>
          <p:cNvSpPr txBox="1"/>
          <p:nvPr userDrawn="1"/>
        </p:nvSpPr>
        <p:spPr>
          <a:xfrm>
            <a:off x="510677" y="5464171"/>
            <a:ext cx="124107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00" b="0" i="0">
                <a:solidFill>
                  <a:schemeClr val="bg1"/>
                </a:solidFill>
                <a:effectLst/>
                <a:latin typeface="+mn-lt"/>
                <a:ea typeface="ES Build" pitchFamily="2" charset="77"/>
              </a:rPr>
              <a:t>Follow us!</a:t>
            </a:r>
            <a:endParaRPr lang="en-US" sz="1600">
              <a:solidFill>
                <a:schemeClr val="bg1"/>
              </a:solidFill>
              <a:latin typeface="+mn-lt"/>
              <a:ea typeface="ES Build" pitchFamily="2" charset="7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301DD53-2EAB-810E-F6B1-FBF2B4448AF5}"/>
              </a:ext>
            </a:extLst>
          </p:cNvPr>
          <p:cNvSpPr txBox="1"/>
          <p:nvPr userDrawn="1"/>
        </p:nvSpPr>
        <p:spPr>
          <a:xfrm>
            <a:off x="3370214" y="5464171"/>
            <a:ext cx="243496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600" b="0" i="0">
                <a:solidFill>
                  <a:schemeClr val="bg1"/>
                </a:solidFill>
                <a:effectLst/>
                <a:ea typeface="ES Build" pitchFamily="2" charset="77"/>
              </a:defRPr>
            </a:lvl1pPr>
          </a:lstStyle>
          <a:p>
            <a:r>
              <a:rPr lang="en-US"/>
              <a:t>Join the community hub: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A45B318-2895-D710-0DCF-BA9DABF93EBF}"/>
              </a:ext>
            </a:extLst>
          </p:cNvPr>
          <p:cNvCxnSpPr/>
          <p:nvPr userDrawn="1"/>
        </p:nvCxnSpPr>
        <p:spPr>
          <a:xfrm>
            <a:off x="3089964" y="5526724"/>
            <a:ext cx="0" cy="678583"/>
          </a:xfrm>
          <a:prstGeom prst="line">
            <a:avLst/>
          </a:prstGeom>
          <a:ln w="12700" cap="rnd">
            <a:solidFill>
              <a:schemeClr val="bg1"/>
            </a:solidFill>
            <a:round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hlinkClick r:id="rId5"/>
            <a:extLst>
              <a:ext uri="{FF2B5EF4-FFF2-40B4-BE49-F238E27FC236}">
                <a16:creationId xmlns:a16="http://schemas.microsoft.com/office/drawing/2014/main" id="{0CC02E49-D2C0-A28C-9B0F-31502D59DE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6444" y="5895777"/>
            <a:ext cx="356616" cy="275415"/>
          </a:xfrm>
          <a:prstGeom prst="rect">
            <a:avLst/>
          </a:prstGeom>
        </p:spPr>
      </p:pic>
      <p:sp>
        <p:nvSpPr>
          <p:cNvPr id="3" name="Freeform 5">
            <a:hlinkClick r:id="rId7"/>
            <a:extLst>
              <a:ext uri="{FF2B5EF4-FFF2-40B4-BE49-F238E27FC236}">
                <a16:creationId xmlns:a16="http://schemas.microsoft.com/office/drawing/2014/main" id="{B4F3E920-A34D-0A41-A266-6ABB279078DD}"/>
              </a:ext>
            </a:extLst>
          </p:cNvPr>
          <p:cNvSpPr>
            <a:spLocks/>
          </p:cNvSpPr>
          <p:nvPr userDrawn="1"/>
        </p:nvSpPr>
        <p:spPr bwMode="gray">
          <a:xfrm>
            <a:off x="1087489" y="5895294"/>
            <a:ext cx="127593" cy="275200"/>
          </a:xfrm>
          <a:custGeom>
            <a:avLst/>
            <a:gdLst>
              <a:gd name="T0" fmla="*/ 60 w 90"/>
              <a:gd name="T1" fmla="*/ 193 h 193"/>
              <a:gd name="T2" fmla="*/ 20 w 90"/>
              <a:gd name="T3" fmla="*/ 193 h 193"/>
              <a:gd name="T4" fmla="*/ 20 w 90"/>
              <a:gd name="T5" fmla="*/ 97 h 193"/>
              <a:gd name="T6" fmla="*/ 0 w 90"/>
              <a:gd name="T7" fmla="*/ 97 h 193"/>
              <a:gd name="T8" fmla="*/ 0 w 90"/>
              <a:gd name="T9" fmla="*/ 63 h 193"/>
              <a:gd name="T10" fmla="*/ 20 w 90"/>
              <a:gd name="T11" fmla="*/ 63 h 193"/>
              <a:gd name="T12" fmla="*/ 20 w 90"/>
              <a:gd name="T13" fmla="*/ 44 h 193"/>
              <a:gd name="T14" fmla="*/ 63 w 90"/>
              <a:gd name="T15" fmla="*/ 0 h 193"/>
              <a:gd name="T16" fmla="*/ 89 w 90"/>
              <a:gd name="T17" fmla="*/ 0 h 193"/>
              <a:gd name="T18" fmla="*/ 89 w 90"/>
              <a:gd name="T19" fmla="*/ 34 h 193"/>
              <a:gd name="T20" fmla="*/ 73 w 90"/>
              <a:gd name="T21" fmla="*/ 34 h 193"/>
              <a:gd name="T22" fmla="*/ 60 w 90"/>
              <a:gd name="T23" fmla="*/ 47 h 193"/>
              <a:gd name="T24" fmla="*/ 60 w 90"/>
              <a:gd name="T25" fmla="*/ 63 h 193"/>
              <a:gd name="T26" fmla="*/ 90 w 90"/>
              <a:gd name="T27" fmla="*/ 63 h 193"/>
              <a:gd name="T28" fmla="*/ 86 w 90"/>
              <a:gd name="T29" fmla="*/ 97 h 193"/>
              <a:gd name="T30" fmla="*/ 60 w 90"/>
              <a:gd name="T31" fmla="*/ 97 h 193"/>
              <a:gd name="T32" fmla="*/ 60 w 90"/>
              <a:gd name="T33" fmla="*/ 1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0" h="193">
                <a:moveTo>
                  <a:pt x="60" y="193"/>
                </a:moveTo>
                <a:cubicBezTo>
                  <a:pt x="20" y="193"/>
                  <a:pt x="20" y="193"/>
                  <a:pt x="20" y="193"/>
                </a:cubicBezTo>
                <a:cubicBezTo>
                  <a:pt x="20" y="97"/>
                  <a:pt x="20" y="97"/>
                  <a:pt x="2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63"/>
                  <a:pt x="0" y="63"/>
                  <a:pt x="0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16"/>
                  <a:pt x="31" y="0"/>
                  <a:pt x="63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9" y="34"/>
                  <a:pt x="89" y="34"/>
                  <a:pt x="89" y="34"/>
                </a:cubicBezTo>
                <a:cubicBezTo>
                  <a:pt x="73" y="34"/>
                  <a:pt x="73" y="34"/>
                  <a:pt x="73" y="34"/>
                </a:cubicBezTo>
                <a:cubicBezTo>
                  <a:pt x="60" y="34"/>
                  <a:pt x="60" y="38"/>
                  <a:pt x="60" y="47"/>
                </a:cubicBezTo>
                <a:cubicBezTo>
                  <a:pt x="60" y="63"/>
                  <a:pt x="60" y="63"/>
                  <a:pt x="60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86" y="97"/>
                  <a:pt x="86" y="97"/>
                  <a:pt x="86" y="97"/>
                </a:cubicBezTo>
                <a:cubicBezTo>
                  <a:pt x="60" y="97"/>
                  <a:pt x="60" y="97"/>
                  <a:pt x="60" y="97"/>
                </a:cubicBezTo>
                <a:lnTo>
                  <a:pt x="60" y="1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S Build" pitchFamily="50" charset="0"/>
              <a:ea typeface="+mn-ea"/>
              <a:cs typeface="+mn-cs"/>
            </a:endParaRP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046E4813-EB85-356E-AE17-AB1D3D4C87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935296" y="5891573"/>
            <a:ext cx="278329" cy="278565"/>
            <a:chOff x="2653" y="972"/>
            <a:chExt cx="2372" cy="2374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D2287FB6-BC3D-649C-2EB8-3052741DB3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3" y="972"/>
              <a:ext cx="2372" cy="2374"/>
            </a:xfrm>
            <a:custGeom>
              <a:avLst/>
              <a:gdLst>
                <a:gd name="T0" fmla="*/ 1008 w 2016"/>
                <a:gd name="T1" fmla="*/ 182 h 2016"/>
                <a:gd name="T2" fmla="*/ 1415 w 2016"/>
                <a:gd name="T3" fmla="*/ 188 h 2016"/>
                <a:gd name="T4" fmla="*/ 1602 w 2016"/>
                <a:gd name="T5" fmla="*/ 222 h 2016"/>
                <a:gd name="T6" fmla="*/ 1718 w 2016"/>
                <a:gd name="T7" fmla="*/ 298 h 2016"/>
                <a:gd name="T8" fmla="*/ 1794 w 2016"/>
                <a:gd name="T9" fmla="*/ 414 h 2016"/>
                <a:gd name="T10" fmla="*/ 1828 w 2016"/>
                <a:gd name="T11" fmla="*/ 601 h 2016"/>
                <a:gd name="T12" fmla="*/ 1834 w 2016"/>
                <a:gd name="T13" fmla="*/ 1008 h 2016"/>
                <a:gd name="T14" fmla="*/ 1828 w 2016"/>
                <a:gd name="T15" fmla="*/ 1415 h 2016"/>
                <a:gd name="T16" fmla="*/ 1794 w 2016"/>
                <a:gd name="T17" fmla="*/ 1602 h 2016"/>
                <a:gd name="T18" fmla="*/ 1718 w 2016"/>
                <a:gd name="T19" fmla="*/ 1718 h 2016"/>
                <a:gd name="T20" fmla="*/ 1602 w 2016"/>
                <a:gd name="T21" fmla="*/ 1794 h 2016"/>
                <a:gd name="T22" fmla="*/ 1415 w 2016"/>
                <a:gd name="T23" fmla="*/ 1828 h 2016"/>
                <a:gd name="T24" fmla="*/ 1008 w 2016"/>
                <a:gd name="T25" fmla="*/ 1834 h 2016"/>
                <a:gd name="T26" fmla="*/ 601 w 2016"/>
                <a:gd name="T27" fmla="*/ 1828 h 2016"/>
                <a:gd name="T28" fmla="*/ 414 w 2016"/>
                <a:gd name="T29" fmla="*/ 1794 h 2016"/>
                <a:gd name="T30" fmla="*/ 298 w 2016"/>
                <a:gd name="T31" fmla="*/ 1718 h 2016"/>
                <a:gd name="T32" fmla="*/ 222 w 2016"/>
                <a:gd name="T33" fmla="*/ 1602 h 2016"/>
                <a:gd name="T34" fmla="*/ 188 w 2016"/>
                <a:gd name="T35" fmla="*/ 1415 h 2016"/>
                <a:gd name="T36" fmla="*/ 182 w 2016"/>
                <a:gd name="T37" fmla="*/ 1008 h 2016"/>
                <a:gd name="T38" fmla="*/ 188 w 2016"/>
                <a:gd name="T39" fmla="*/ 601 h 2016"/>
                <a:gd name="T40" fmla="*/ 222 w 2016"/>
                <a:gd name="T41" fmla="*/ 414 h 2016"/>
                <a:gd name="T42" fmla="*/ 298 w 2016"/>
                <a:gd name="T43" fmla="*/ 298 h 2016"/>
                <a:gd name="T44" fmla="*/ 414 w 2016"/>
                <a:gd name="T45" fmla="*/ 222 h 2016"/>
                <a:gd name="T46" fmla="*/ 601 w 2016"/>
                <a:gd name="T47" fmla="*/ 188 h 2016"/>
                <a:gd name="T48" fmla="*/ 1008 w 2016"/>
                <a:gd name="T49" fmla="*/ 182 h 2016"/>
                <a:gd name="T50" fmla="*/ 1008 w 2016"/>
                <a:gd name="T51" fmla="*/ 0 h 2016"/>
                <a:gd name="T52" fmla="*/ 593 w 2016"/>
                <a:gd name="T53" fmla="*/ 6 h 2016"/>
                <a:gd name="T54" fmla="*/ 348 w 2016"/>
                <a:gd name="T55" fmla="*/ 53 h 2016"/>
                <a:gd name="T56" fmla="*/ 169 w 2016"/>
                <a:gd name="T57" fmla="*/ 169 h 2016"/>
                <a:gd name="T58" fmla="*/ 53 w 2016"/>
                <a:gd name="T59" fmla="*/ 348 h 2016"/>
                <a:gd name="T60" fmla="*/ 6 w 2016"/>
                <a:gd name="T61" fmla="*/ 593 h 2016"/>
                <a:gd name="T62" fmla="*/ 0 w 2016"/>
                <a:gd name="T63" fmla="*/ 1008 h 2016"/>
                <a:gd name="T64" fmla="*/ 6 w 2016"/>
                <a:gd name="T65" fmla="*/ 1423 h 2016"/>
                <a:gd name="T66" fmla="*/ 53 w 2016"/>
                <a:gd name="T67" fmla="*/ 1668 h 2016"/>
                <a:gd name="T68" fmla="*/ 169 w 2016"/>
                <a:gd name="T69" fmla="*/ 1847 h 2016"/>
                <a:gd name="T70" fmla="*/ 348 w 2016"/>
                <a:gd name="T71" fmla="*/ 1963 h 2016"/>
                <a:gd name="T72" fmla="*/ 593 w 2016"/>
                <a:gd name="T73" fmla="*/ 2010 h 2016"/>
                <a:gd name="T74" fmla="*/ 1008 w 2016"/>
                <a:gd name="T75" fmla="*/ 2016 h 2016"/>
                <a:gd name="T76" fmla="*/ 1423 w 2016"/>
                <a:gd name="T77" fmla="*/ 2010 h 2016"/>
                <a:gd name="T78" fmla="*/ 1668 w 2016"/>
                <a:gd name="T79" fmla="*/ 1963 h 2016"/>
                <a:gd name="T80" fmla="*/ 1847 w 2016"/>
                <a:gd name="T81" fmla="*/ 1847 h 2016"/>
                <a:gd name="T82" fmla="*/ 1963 w 2016"/>
                <a:gd name="T83" fmla="*/ 1668 h 2016"/>
                <a:gd name="T84" fmla="*/ 2010 w 2016"/>
                <a:gd name="T85" fmla="*/ 1423 h 2016"/>
                <a:gd name="T86" fmla="*/ 2016 w 2016"/>
                <a:gd name="T87" fmla="*/ 1008 h 2016"/>
                <a:gd name="T88" fmla="*/ 2010 w 2016"/>
                <a:gd name="T89" fmla="*/ 593 h 2016"/>
                <a:gd name="T90" fmla="*/ 1963 w 2016"/>
                <a:gd name="T91" fmla="*/ 348 h 2016"/>
                <a:gd name="T92" fmla="*/ 1847 w 2016"/>
                <a:gd name="T93" fmla="*/ 169 h 2016"/>
                <a:gd name="T94" fmla="*/ 1668 w 2016"/>
                <a:gd name="T95" fmla="*/ 53 h 2016"/>
                <a:gd name="T96" fmla="*/ 1423 w 2016"/>
                <a:gd name="T97" fmla="*/ 6 h 2016"/>
                <a:gd name="T98" fmla="*/ 1008 w 2016"/>
                <a:gd name="T99" fmla="*/ 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6" h="2016">
                  <a:moveTo>
                    <a:pt x="1008" y="182"/>
                  </a:moveTo>
                  <a:cubicBezTo>
                    <a:pt x="1277" y="182"/>
                    <a:pt x="1309" y="183"/>
                    <a:pt x="1415" y="188"/>
                  </a:cubicBezTo>
                  <a:cubicBezTo>
                    <a:pt x="1513" y="192"/>
                    <a:pt x="1567" y="209"/>
                    <a:pt x="1602" y="222"/>
                  </a:cubicBezTo>
                  <a:cubicBezTo>
                    <a:pt x="1649" y="241"/>
                    <a:pt x="1683" y="263"/>
                    <a:pt x="1718" y="298"/>
                  </a:cubicBezTo>
                  <a:cubicBezTo>
                    <a:pt x="1753" y="333"/>
                    <a:pt x="1775" y="367"/>
                    <a:pt x="1794" y="414"/>
                  </a:cubicBezTo>
                  <a:cubicBezTo>
                    <a:pt x="1807" y="449"/>
                    <a:pt x="1824" y="503"/>
                    <a:pt x="1828" y="601"/>
                  </a:cubicBezTo>
                  <a:cubicBezTo>
                    <a:pt x="1833" y="707"/>
                    <a:pt x="1834" y="739"/>
                    <a:pt x="1834" y="1008"/>
                  </a:cubicBezTo>
                  <a:cubicBezTo>
                    <a:pt x="1834" y="1277"/>
                    <a:pt x="1833" y="1309"/>
                    <a:pt x="1828" y="1415"/>
                  </a:cubicBezTo>
                  <a:cubicBezTo>
                    <a:pt x="1824" y="1513"/>
                    <a:pt x="1807" y="1567"/>
                    <a:pt x="1794" y="1602"/>
                  </a:cubicBezTo>
                  <a:cubicBezTo>
                    <a:pt x="1775" y="1649"/>
                    <a:pt x="1753" y="1683"/>
                    <a:pt x="1718" y="1718"/>
                  </a:cubicBezTo>
                  <a:cubicBezTo>
                    <a:pt x="1683" y="1753"/>
                    <a:pt x="1649" y="1775"/>
                    <a:pt x="1602" y="1794"/>
                  </a:cubicBezTo>
                  <a:cubicBezTo>
                    <a:pt x="1567" y="1807"/>
                    <a:pt x="1513" y="1824"/>
                    <a:pt x="1415" y="1828"/>
                  </a:cubicBezTo>
                  <a:cubicBezTo>
                    <a:pt x="1309" y="1833"/>
                    <a:pt x="1277" y="1834"/>
                    <a:pt x="1008" y="1834"/>
                  </a:cubicBezTo>
                  <a:cubicBezTo>
                    <a:pt x="739" y="1834"/>
                    <a:pt x="707" y="1833"/>
                    <a:pt x="601" y="1828"/>
                  </a:cubicBezTo>
                  <a:cubicBezTo>
                    <a:pt x="503" y="1824"/>
                    <a:pt x="449" y="1807"/>
                    <a:pt x="414" y="1794"/>
                  </a:cubicBezTo>
                  <a:cubicBezTo>
                    <a:pt x="367" y="1775"/>
                    <a:pt x="333" y="1753"/>
                    <a:pt x="298" y="1718"/>
                  </a:cubicBezTo>
                  <a:cubicBezTo>
                    <a:pt x="263" y="1683"/>
                    <a:pt x="241" y="1649"/>
                    <a:pt x="222" y="1602"/>
                  </a:cubicBezTo>
                  <a:cubicBezTo>
                    <a:pt x="209" y="1567"/>
                    <a:pt x="192" y="1513"/>
                    <a:pt x="188" y="1415"/>
                  </a:cubicBezTo>
                  <a:cubicBezTo>
                    <a:pt x="183" y="1309"/>
                    <a:pt x="182" y="1277"/>
                    <a:pt x="182" y="1008"/>
                  </a:cubicBezTo>
                  <a:cubicBezTo>
                    <a:pt x="182" y="739"/>
                    <a:pt x="183" y="707"/>
                    <a:pt x="188" y="601"/>
                  </a:cubicBezTo>
                  <a:cubicBezTo>
                    <a:pt x="192" y="503"/>
                    <a:pt x="209" y="449"/>
                    <a:pt x="222" y="414"/>
                  </a:cubicBezTo>
                  <a:cubicBezTo>
                    <a:pt x="241" y="367"/>
                    <a:pt x="263" y="333"/>
                    <a:pt x="298" y="298"/>
                  </a:cubicBezTo>
                  <a:cubicBezTo>
                    <a:pt x="333" y="263"/>
                    <a:pt x="367" y="241"/>
                    <a:pt x="414" y="222"/>
                  </a:cubicBezTo>
                  <a:cubicBezTo>
                    <a:pt x="449" y="209"/>
                    <a:pt x="503" y="192"/>
                    <a:pt x="601" y="188"/>
                  </a:cubicBezTo>
                  <a:cubicBezTo>
                    <a:pt x="707" y="183"/>
                    <a:pt x="739" y="182"/>
                    <a:pt x="1008" y="182"/>
                  </a:cubicBezTo>
                  <a:moveTo>
                    <a:pt x="1008" y="0"/>
                  </a:moveTo>
                  <a:cubicBezTo>
                    <a:pt x="734" y="0"/>
                    <a:pt x="700" y="1"/>
                    <a:pt x="593" y="6"/>
                  </a:cubicBezTo>
                  <a:cubicBezTo>
                    <a:pt x="485" y="11"/>
                    <a:pt x="412" y="28"/>
                    <a:pt x="348" y="53"/>
                  </a:cubicBezTo>
                  <a:cubicBezTo>
                    <a:pt x="282" y="79"/>
                    <a:pt x="225" y="113"/>
                    <a:pt x="169" y="169"/>
                  </a:cubicBezTo>
                  <a:cubicBezTo>
                    <a:pt x="113" y="225"/>
                    <a:pt x="79" y="282"/>
                    <a:pt x="53" y="348"/>
                  </a:cubicBezTo>
                  <a:cubicBezTo>
                    <a:pt x="28" y="412"/>
                    <a:pt x="11" y="485"/>
                    <a:pt x="6" y="593"/>
                  </a:cubicBezTo>
                  <a:cubicBezTo>
                    <a:pt x="1" y="700"/>
                    <a:pt x="0" y="734"/>
                    <a:pt x="0" y="1008"/>
                  </a:cubicBezTo>
                  <a:cubicBezTo>
                    <a:pt x="0" y="1282"/>
                    <a:pt x="1" y="1316"/>
                    <a:pt x="6" y="1423"/>
                  </a:cubicBezTo>
                  <a:cubicBezTo>
                    <a:pt x="11" y="1531"/>
                    <a:pt x="28" y="1604"/>
                    <a:pt x="53" y="1668"/>
                  </a:cubicBezTo>
                  <a:cubicBezTo>
                    <a:pt x="79" y="1734"/>
                    <a:pt x="113" y="1791"/>
                    <a:pt x="169" y="1847"/>
                  </a:cubicBezTo>
                  <a:cubicBezTo>
                    <a:pt x="225" y="1903"/>
                    <a:pt x="282" y="1937"/>
                    <a:pt x="348" y="1963"/>
                  </a:cubicBezTo>
                  <a:cubicBezTo>
                    <a:pt x="412" y="1988"/>
                    <a:pt x="485" y="2005"/>
                    <a:pt x="593" y="2010"/>
                  </a:cubicBezTo>
                  <a:cubicBezTo>
                    <a:pt x="700" y="2015"/>
                    <a:pt x="734" y="2016"/>
                    <a:pt x="1008" y="2016"/>
                  </a:cubicBezTo>
                  <a:cubicBezTo>
                    <a:pt x="1282" y="2016"/>
                    <a:pt x="1316" y="2015"/>
                    <a:pt x="1423" y="2010"/>
                  </a:cubicBezTo>
                  <a:cubicBezTo>
                    <a:pt x="1531" y="2005"/>
                    <a:pt x="1604" y="1988"/>
                    <a:pt x="1668" y="1963"/>
                  </a:cubicBezTo>
                  <a:cubicBezTo>
                    <a:pt x="1734" y="1937"/>
                    <a:pt x="1791" y="1903"/>
                    <a:pt x="1847" y="1847"/>
                  </a:cubicBezTo>
                  <a:cubicBezTo>
                    <a:pt x="1903" y="1791"/>
                    <a:pt x="1937" y="1734"/>
                    <a:pt x="1963" y="1668"/>
                  </a:cubicBezTo>
                  <a:cubicBezTo>
                    <a:pt x="1988" y="1604"/>
                    <a:pt x="2005" y="1531"/>
                    <a:pt x="2010" y="1423"/>
                  </a:cubicBezTo>
                  <a:cubicBezTo>
                    <a:pt x="2015" y="1316"/>
                    <a:pt x="2016" y="1282"/>
                    <a:pt x="2016" y="1008"/>
                  </a:cubicBezTo>
                  <a:cubicBezTo>
                    <a:pt x="2016" y="734"/>
                    <a:pt x="2015" y="700"/>
                    <a:pt x="2010" y="593"/>
                  </a:cubicBezTo>
                  <a:cubicBezTo>
                    <a:pt x="2005" y="485"/>
                    <a:pt x="1988" y="412"/>
                    <a:pt x="1963" y="348"/>
                  </a:cubicBezTo>
                  <a:cubicBezTo>
                    <a:pt x="1937" y="282"/>
                    <a:pt x="1903" y="225"/>
                    <a:pt x="1847" y="169"/>
                  </a:cubicBezTo>
                  <a:cubicBezTo>
                    <a:pt x="1791" y="113"/>
                    <a:pt x="1734" y="79"/>
                    <a:pt x="1668" y="53"/>
                  </a:cubicBezTo>
                  <a:cubicBezTo>
                    <a:pt x="1604" y="28"/>
                    <a:pt x="1531" y="11"/>
                    <a:pt x="1423" y="6"/>
                  </a:cubicBezTo>
                  <a:cubicBezTo>
                    <a:pt x="1316" y="1"/>
                    <a:pt x="1282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9" name="Freeform 6">
              <a:hlinkClick r:id="rId8"/>
              <a:extLst>
                <a:ext uri="{FF2B5EF4-FFF2-40B4-BE49-F238E27FC236}">
                  <a16:creationId xmlns:a16="http://schemas.microsoft.com/office/drawing/2014/main" id="{E6C9D0C3-0E7B-4C13-01E8-6DFFD9A554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1" y="1550"/>
              <a:ext cx="1216" cy="1218"/>
            </a:xfrm>
            <a:custGeom>
              <a:avLst/>
              <a:gdLst>
                <a:gd name="T0" fmla="*/ 517 w 1034"/>
                <a:gd name="T1" fmla="*/ 0 h 1034"/>
                <a:gd name="T2" fmla="*/ 0 w 1034"/>
                <a:gd name="T3" fmla="*/ 517 h 1034"/>
                <a:gd name="T4" fmla="*/ 517 w 1034"/>
                <a:gd name="T5" fmla="*/ 1034 h 1034"/>
                <a:gd name="T6" fmla="*/ 1034 w 1034"/>
                <a:gd name="T7" fmla="*/ 517 h 1034"/>
                <a:gd name="T8" fmla="*/ 517 w 1034"/>
                <a:gd name="T9" fmla="*/ 0 h 1034"/>
                <a:gd name="T10" fmla="*/ 517 w 1034"/>
                <a:gd name="T11" fmla="*/ 853 h 1034"/>
                <a:gd name="T12" fmla="*/ 181 w 1034"/>
                <a:gd name="T13" fmla="*/ 517 h 1034"/>
                <a:gd name="T14" fmla="*/ 517 w 1034"/>
                <a:gd name="T15" fmla="*/ 181 h 1034"/>
                <a:gd name="T16" fmla="*/ 853 w 1034"/>
                <a:gd name="T17" fmla="*/ 517 h 1034"/>
                <a:gd name="T18" fmla="*/ 517 w 1034"/>
                <a:gd name="T19" fmla="*/ 853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4" h="1034">
                  <a:moveTo>
                    <a:pt x="517" y="0"/>
                  </a:moveTo>
                  <a:cubicBezTo>
                    <a:pt x="231" y="0"/>
                    <a:pt x="0" y="231"/>
                    <a:pt x="0" y="517"/>
                  </a:cubicBezTo>
                  <a:cubicBezTo>
                    <a:pt x="0" y="803"/>
                    <a:pt x="231" y="1034"/>
                    <a:pt x="517" y="1034"/>
                  </a:cubicBezTo>
                  <a:cubicBezTo>
                    <a:pt x="803" y="1034"/>
                    <a:pt x="1034" y="803"/>
                    <a:pt x="1034" y="517"/>
                  </a:cubicBezTo>
                  <a:cubicBezTo>
                    <a:pt x="1034" y="231"/>
                    <a:pt x="803" y="0"/>
                    <a:pt x="517" y="0"/>
                  </a:cubicBezTo>
                  <a:close/>
                  <a:moveTo>
                    <a:pt x="517" y="853"/>
                  </a:moveTo>
                  <a:cubicBezTo>
                    <a:pt x="331" y="853"/>
                    <a:pt x="181" y="703"/>
                    <a:pt x="181" y="517"/>
                  </a:cubicBezTo>
                  <a:cubicBezTo>
                    <a:pt x="181" y="331"/>
                    <a:pt x="331" y="181"/>
                    <a:pt x="517" y="181"/>
                  </a:cubicBezTo>
                  <a:cubicBezTo>
                    <a:pt x="703" y="181"/>
                    <a:pt x="853" y="331"/>
                    <a:pt x="853" y="517"/>
                  </a:cubicBezTo>
                  <a:cubicBezTo>
                    <a:pt x="853" y="703"/>
                    <a:pt x="703" y="853"/>
                    <a:pt x="517" y="8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28721EF1-A2DF-D988-15C4-AF56F4424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9" y="1383"/>
              <a:ext cx="285" cy="28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</p:grpSp>
      <p:pic>
        <p:nvPicPr>
          <p:cNvPr id="11" name="Graphic 10">
            <a:hlinkClick r:id="rId9"/>
            <a:extLst>
              <a:ext uri="{FF2B5EF4-FFF2-40B4-BE49-F238E27FC236}">
                <a16:creationId xmlns:a16="http://schemas.microsoft.com/office/drawing/2014/main" id="{DB8A13AA-648B-BDB8-5EAB-5F8BDA0E341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38744" y="5909556"/>
            <a:ext cx="278327" cy="260582"/>
          </a:xfrm>
          <a:prstGeom prst="rect">
            <a:avLst/>
          </a:prstGeom>
        </p:spPr>
      </p:pic>
      <p:pic>
        <p:nvPicPr>
          <p:cNvPr id="12" name="Picture 11">
            <a:hlinkClick r:id="rId12"/>
            <a:extLst>
              <a:ext uri="{FF2B5EF4-FFF2-40B4-BE49-F238E27FC236}">
                <a16:creationId xmlns:a16="http://schemas.microsoft.com/office/drawing/2014/main" id="{93ABDEB7-EEE7-258F-628C-079AD14762A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4421" y="5889009"/>
            <a:ext cx="397241" cy="278565"/>
          </a:xfrm>
          <a:prstGeom prst="rect">
            <a:avLst/>
          </a:prstGeom>
        </p:spPr>
      </p:pic>
      <p:pic>
        <p:nvPicPr>
          <p:cNvPr id="13" name="Picture 12" descr="A blue and black logo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5ED7D377-16E0-2AF8-31AE-3A7E0F7CFD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biLevel thresh="25000"/>
          </a:blip>
          <a:srcRect r="14227"/>
          <a:stretch/>
        </p:blipFill>
        <p:spPr>
          <a:xfrm>
            <a:off x="510677" y="5832610"/>
            <a:ext cx="353151" cy="34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2761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Viridis Closing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600BB262-2824-0F81-F4CC-0A3A31F1D4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01975" y="2167247"/>
            <a:ext cx="5722938" cy="1819737"/>
          </a:xfrm>
          <a:prstGeom prst="rect">
            <a:avLst/>
          </a:prstGeom>
        </p:spPr>
      </p:pic>
      <p:pic>
        <p:nvPicPr>
          <p:cNvPr id="15" name="Picture 14">
            <a:hlinkClick r:id="rId5"/>
            <a:extLst>
              <a:ext uri="{FF2B5EF4-FFF2-40B4-BE49-F238E27FC236}">
                <a16:creationId xmlns:a16="http://schemas.microsoft.com/office/drawing/2014/main" id="{F2AF11D3-0508-A6D4-A25F-3F92D583AA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9458" y="5893254"/>
            <a:ext cx="355199" cy="27432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112FFAF-6C17-B3FE-0AD3-91FD1B2448BD}"/>
              </a:ext>
            </a:extLst>
          </p:cNvPr>
          <p:cNvSpPr txBox="1"/>
          <p:nvPr userDrawn="1"/>
        </p:nvSpPr>
        <p:spPr>
          <a:xfrm>
            <a:off x="510677" y="5464171"/>
            <a:ext cx="124107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00" b="0" i="0" dirty="0">
                <a:solidFill>
                  <a:schemeClr val="bg1"/>
                </a:solidFill>
                <a:effectLst/>
                <a:latin typeface="+mn-lt"/>
                <a:ea typeface="ES Build" pitchFamily="2" charset="77"/>
              </a:rPr>
              <a:t>Follow us!</a:t>
            </a:r>
            <a:endParaRPr lang="en-US" sz="1600" dirty="0">
              <a:solidFill>
                <a:schemeClr val="bg1"/>
              </a:solidFill>
              <a:latin typeface="+mn-lt"/>
              <a:ea typeface="ES Build" pitchFamily="2" charset="77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FB02EBE-1537-8F94-7932-1FDC3D71E465}"/>
              </a:ext>
            </a:extLst>
          </p:cNvPr>
          <p:cNvCxnSpPr/>
          <p:nvPr userDrawn="1"/>
        </p:nvCxnSpPr>
        <p:spPr>
          <a:xfrm>
            <a:off x="3089964" y="5526724"/>
            <a:ext cx="0" cy="678583"/>
          </a:xfrm>
          <a:prstGeom prst="line">
            <a:avLst/>
          </a:prstGeom>
          <a:ln w="12700" cap="rnd">
            <a:solidFill>
              <a:schemeClr val="bg1"/>
            </a:solidFill>
            <a:round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4EFAD16-3BDD-AFE1-E452-666A4F31A7AF}"/>
              </a:ext>
            </a:extLst>
          </p:cNvPr>
          <p:cNvSpPr txBox="1"/>
          <p:nvPr userDrawn="1"/>
        </p:nvSpPr>
        <p:spPr>
          <a:xfrm>
            <a:off x="3370214" y="5464171"/>
            <a:ext cx="243496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600" b="0" i="0">
                <a:solidFill>
                  <a:schemeClr val="bg1"/>
                </a:solidFill>
                <a:effectLst/>
                <a:ea typeface="ES Build" pitchFamily="2" charset="77"/>
              </a:defRPr>
            </a:lvl1pPr>
          </a:lstStyle>
          <a:p>
            <a:r>
              <a:rPr lang="en-US"/>
              <a:t>Join the community hub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0298740-AD63-6DE6-1A55-DCB3CC9ADD33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sp>
        <p:nvSpPr>
          <p:cNvPr id="4" name="Freeform 5">
            <a:hlinkClick r:id="rId7"/>
            <a:extLst>
              <a:ext uri="{FF2B5EF4-FFF2-40B4-BE49-F238E27FC236}">
                <a16:creationId xmlns:a16="http://schemas.microsoft.com/office/drawing/2014/main" id="{4D9C3F8C-D18D-D79B-F8A9-6F3A865F3D77}"/>
              </a:ext>
            </a:extLst>
          </p:cNvPr>
          <p:cNvSpPr>
            <a:spLocks/>
          </p:cNvSpPr>
          <p:nvPr userDrawn="1"/>
        </p:nvSpPr>
        <p:spPr bwMode="gray">
          <a:xfrm>
            <a:off x="1087489" y="5895294"/>
            <a:ext cx="127593" cy="275200"/>
          </a:xfrm>
          <a:custGeom>
            <a:avLst/>
            <a:gdLst>
              <a:gd name="T0" fmla="*/ 60 w 90"/>
              <a:gd name="T1" fmla="*/ 193 h 193"/>
              <a:gd name="T2" fmla="*/ 20 w 90"/>
              <a:gd name="T3" fmla="*/ 193 h 193"/>
              <a:gd name="T4" fmla="*/ 20 w 90"/>
              <a:gd name="T5" fmla="*/ 97 h 193"/>
              <a:gd name="T6" fmla="*/ 0 w 90"/>
              <a:gd name="T7" fmla="*/ 97 h 193"/>
              <a:gd name="T8" fmla="*/ 0 w 90"/>
              <a:gd name="T9" fmla="*/ 63 h 193"/>
              <a:gd name="T10" fmla="*/ 20 w 90"/>
              <a:gd name="T11" fmla="*/ 63 h 193"/>
              <a:gd name="T12" fmla="*/ 20 w 90"/>
              <a:gd name="T13" fmla="*/ 44 h 193"/>
              <a:gd name="T14" fmla="*/ 63 w 90"/>
              <a:gd name="T15" fmla="*/ 0 h 193"/>
              <a:gd name="T16" fmla="*/ 89 w 90"/>
              <a:gd name="T17" fmla="*/ 0 h 193"/>
              <a:gd name="T18" fmla="*/ 89 w 90"/>
              <a:gd name="T19" fmla="*/ 34 h 193"/>
              <a:gd name="T20" fmla="*/ 73 w 90"/>
              <a:gd name="T21" fmla="*/ 34 h 193"/>
              <a:gd name="T22" fmla="*/ 60 w 90"/>
              <a:gd name="T23" fmla="*/ 47 h 193"/>
              <a:gd name="T24" fmla="*/ 60 w 90"/>
              <a:gd name="T25" fmla="*/ 63 h 193"/>
              <a:gd name="T26" fmla="*/ 90 w 90"/>
              <a:gd name="T27" fmla="*/ 63 h 193"/>
              <a:gd name="T28" fmla="*/ 86 w 90"/>
              <a:gd name="T29" fmla="*/ 97 h 193"/>
              <a:gd name="T30" fmla="*/ 60 w 90"/>
              <a:gd name="T31" fmla="*/ 97 h 193"/>
              <a:gd name="T32" fmla="*/ 60 w 90"/>
              <a:gd name="T33" fmla="*/ 1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0" h="193">
                <a:moveTo>
                  <a:pt x="60" y="193"/>
                </a:moveTo>
                <a:cubicBezTo>
                  <a:pt x="20" y="193"/>
                  <a:pt x="20" y="193"/>
                  <a:pt x="20" y="193"/>
                </a:cubicBezTo>
                <a:cubicBezTo>
                  <a:pt x="20" y="97"/>
                  <a:pt x="20" y="97"/>
                  <a:pt x="2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63"/>
                  <a:pt x="0" y="63"/>
                  <a:pt x="0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16"/>
                  <a:pt x="31" y="0"/>
                  <a:pt x="63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9" y="34"/>
                  <a:pt x="89" y="34"/>
                  <a:pt x="89" y="34"/>
                </a:cubicBezTo>
                <a:cubicBezTo>
                  <a:pt x="73" y="34"/>
                  <a:pt x="73" y="34"/>
                  <a:pt x="73" y="34"/>
                </a:cubicBezTo>
                <a:cubicBezTo>
                  <a:pt x="60" y="34"/>
                  <a:pt x="60" y="38"/>
                  <a:pt x="60" y="47"/>
                </a:cubicBezTo>
                <a:cubicBezTo>
                  <a:pt x="60" y="63"/>
                  <a:pt x="60" y="63"/>
                  <a:pt x="60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86" y="97"/>
                  <a:pt x="86" y="97"/>
                  <a:pt x="86" y="97"/>
                </a:cubicBezTo>
                <a:cubicBezTo>
                  <a:pt x="60" y="97"/>
                  <a:pt x="60" y="97"/>
                  <a:pt x="60" y="97"/>
                </a:cubicBezTo>
                <a:lnTo>
                  <a:pt x="60" y="1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S Build" pitchFamily="50" charset="0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A5F59D4-560F-A6BE-AC45-8F4E5F39F04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935296" y="5891573"/>
            <a:ext cx="278329" cy="278565"/>
            <a:chOff x="2653" y="972"/>
            <a:chExt cx="2372" cy="2374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77D6E78-993A-7DAA-FABB-CAFA09D927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3" y="972"/>
              <a:ext cx="2372" cy="2374"/>
            </a:xfrm>
            <a:custGeom>
              <a:avLst/>
              <a:gdLst>
                <a:gd name="T0" fmla="*/ 1008 w 2016"/>
                <a:gd name="T1" fmla="*/ 182 h 2016"/>
                <a:gd name="T2" fmla="*/ 1415 w 2016"/>
                <a:gd name="T3" fmla="*/ 188 h 2016"/>
                <a:gd name="T4" fmla="*/ 1602 w 2016"/>
                <a:gd name="T5" fmla="*/ 222 h 2016"/>
                <a:gd name="T6" fmla="*/ 1718 w 2016"/>
                <a:gd name="T7" fmla="*/ 298 h 2016"/>
                <a:gd name="T8" fmla="*/ 1794 w 2016"/>
                <a:gd name="T9" fmla="*/ 414 h 2016"/>
                <a:gd name="T10" fmla="*/ 1828 w 2016"/>
                <a:gd name="T11" fmla="*/ 601 h 2016"/>
                <a:gd name="T12" fmla="*/ 1834 w 2016"/>
                <a:gd name="T13" fmla="*/ 1008 h 2016"/>
                <a:gd name="T14" fmla="*/ 1828 w 2016"/>
                <a:gd name="T15" fmla="*/ 1415 h 2016"/>
                <a:gd name="T16" fmla="*/ 1794 w 2016"/>
                <a:gd name="T17" fmla="*/ 1602 h 2016"/>
                <a:gd name="T18" fmla="*/ 1718 w 2016"/>
                <a:gd name="T19" fmla="*/ 1718 h 2016"/>
                <a:gd name="T20" fmla="*/ 1602 w 2016"/>
                <a:gd name="T21" fmla="*/ 1794 h 2016"/>
                <a:gd name="T22" fmla="*/ 1415 w 2016"/>
                <a:gd name="T23" fmla="*/ 1828 h 2016"/>
                <a:gd name="T24" fmla="*/ 1008 w 2016"/>
                <a:gd name="T25" fmla="*/ 1834 h 2016"/>
                <a:gd name="T26" fmla="*/ 601 w 2016"/>
                <a:gd name="T27" fmla="*/ 1828 h 2016"/>
                <a:gd name="T28" fmla="*/ 414 w 2016"/>
                <a:gd name="T29" fmla="*/ 1794 h 2016"/>
                <a:gd name="T30" fmla="*/ 298 w 2016"/>
                <a:gd name="T31" fmla="*/ 1718 h 2016"/>
                <a:gd name="T32" fmla="*/ 222 w 2016"/>
                <a:gd name="T33" fmla="*/ 1602 h 2016"/>
                <a:gd name="T34" fmla="*/ 188 w 2016"/>
                <a:gd name="T35" fmla="*/ 1415 h 2016"/>
                <a:gd name="T36" fmla="*/ 182 w 2016"/>
                <a:gd name="T37" fmla="*/ 1008 h 2016"/>
                <a:gd name="T38" fmla="*/ 188 w 2016"/>
                <a:gd name="T39" fmla="*/ 601 h 2016"/>
                <a:gd name="T40" fmla="*/ 222 w 2016"/>
                <a:gd name="T41" fmla="*/ 414 h 2016"/>
                <a:gd name="T42" fmla="*/ 298 w 2016"/>
                <a:gd name="T43" fmla="*/ 298 h 2016"/>
                <a:gd name="T44" fmla="*/ 414 w 2016"/>
                <a:gd name="T45" fmla="*/ 222 h 2016"/>
                <a:gd name="T46" fmla="*/ 601 w 2016"/>
                <a:gd name="T47" fmla="*/ 188 h 2016"/>
                <a:gd name="T48" fmla="*/ 1008 w 2016"/>
                <a:gd name="T49" fmla="*/ 182 h 2016"/>
                <a:gd name="T50" fmla="*/ 1008 w 2016"/>
                <a:gd name="T51" fmla="*/ 0 h 2016"/>
                <a:gd name="T52" fmla="*/ 593 w 2016"/>
                <a:gd name="T53" fmla="*/ 6 h 2016"/>
                <a:gd name="T54" fmla="*/ 348 w 2016"/>
                <a:gd name="T55" fmla="*/ 53 h 2016"/>
                <a:gd name="T56" fmla="*/ 169 w 2016"/>
                <a:gd name="T57" fmla="*/ 169 h 2016"/>
                <a:gd name="T58" fmla="*/ 53 w 2016"/>
                <a:gd name="T59" fmla="*/ 348 h 2016"/>
                <a:gd name="T60" fmla="*/ 6 w 2016"/>
                <a:gd name="T61" fmla="*/ 593 h 2016"/>
                <a:gd name="T62" fmla="*/ 0 w 2016"/>
                <a:gd name="T63" fmla="*/ 1008 h 2016"/>
                <a:gd name="T64" fmla="*/ 6 w 2016"/>
                <a:gd name="T65" fmla="*/ 1423 h 2016"/>
                <a:gd name="T66" fmla="*/ 53 w 2016"/>
                <a:gd name="T67" fmla="*/ 1668 h 2016"/>
                <a:gd name="T68" fmla="*/ 169 w 2016"/>
                <a:gd name="T69" fmla="*/ 1847 h 2016"/>
                <a:gd name="T70" fmla="*/ 348 w 2016"/>
                <a:gd name="T71" fmla="*/ 1963 h 2016"/>
                <a:gd name="T72" fmla="*/ 593 w 2016"/>
                <a:gd name="T73" fmla="*/ 2010 h 2016"/>
                <a:gd name="T74" fmla="*/ 1008 w 2016"/>
                <a:gd name="T75" fmla="*/ 2016 h 2016"/>
                <a:gd name="T76" fmla="*/ 1423 w 2016"/>
                <a:gd name="T77" fmla="*/ 2010 h 2016"/>
                <a:gd name="T78" fmla="*/ 1668 w 2016"/>
                <a:gd name="T79" fmla="*/ 1963 h 2016"/>
                <a:gd name="T80" fmla="*/ 1847 w 2016"/>
                <a:gd name="T81" fmla="*/ 1847 h 2016"/>
                <a:gd name="T82" fmla="*/ 1963 w 2016"/>
                <a:gd name="T83" fmla="*/ 1668 h 2016"/>
                <a:gd name="T84" fmla="*/ 2010 w 2016"/>
                <a:gd name="T85" fmla="*/ 1423 h 2016"/>
                <a:gd name="T86" fmla="*/ 2016 w 2016"/>
                <a:gd name="T87" fmla="*/ 1008 h 2016"/>
                <a:gd name="T88" fmla="*/ 2010 w 2016"/>
                <a:gd name="T89" fmla="*/ 593 h 2016"/>
                <a:gd name="T90" fmla="*/ 1963 w 2016"/>
                <a:gd name="T91" fmla="*/ 348 h 2016"/>
                <a:gd name="T92" fmla="*/ 1847 w 2016"/>
                <a:gd name="T93" fmla="*/ 169 h 2016"/>
                <a:gd name="T94" fmla="*/ 1668 w 2016"/>
                <a:gd name="T95" fmla="*/ 53 h 2016"/>
                <a:gd name="T96" fmla="*/ 1423 w 2016"/>
                <a:gd name="T97" fmla="*/ 6 h 2016"/>
                <a:gd name="T98" fmla="*/ 1008 w 2016"/>
                <a:gd name="T99" fmla="*/ 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6" h="2016">
                  <a:moveTo>
                    <a:pt x="1008" y="182"/>
                  </a:moveTo>
                  <a:cubicBezTo>
                    <a:pt x="1277" y="182"/>
                    <a:pt x="1309" y="183"/>
                    <a:pt x="1415" y="188"/>
                  </a:cubicBezTo>
                  <a:cubicBezTo>
                    <a:pt x="1513" y="192"/>
                    <a:pt x="1567" y="209"/>
                    <a:pt x="1602" y="222"/>
                  </a:cubicBezTo>
                  <a:cubicBezTo>
                    <a:pt x="1649" y="241"/>
                    <a:pt x="1683" y="263"/>
                    <a:pt x="1718" y="298"/>
                  </a:cubicBezTo>
                  <a:cubicBezTo>
                    <a:pt x="1753" y="333"/>
                    <a:pt x="1775" y="367"/>
                    <a:pt x="1794" y="414"/>
                  </a:cubicBezTo>
                  <a:cubicBezTo>
                    <a:pt x="1807" y="449"/>
                    <a:pt x="1824" y="503"/>
                    <a:pt x="1828" y="601"/>
                  </a:cubicBezTo>
                  <a:cubicBezTo>
                    <a:pt x="1833" y="707"/>
                    <a:pt x="1834" y="739"/>
                    <a:pt x="1834" y="1008"/>
                  </a:cubicBezTo>
                  <a:cubicBezTo>
                    <a:pt x="1834" y="1277"/>
                    <a:pt x="1833" y="1309"/>
                    <a:pt x="1828" y="1415"/>
                  </a:cubicBezTo>
                  <a:cubicBezTo>
                    <a:pt x="1824" y="1513"/>
                    <a:pt x="1807" y="1567"/>
                    <a:pt x="1794" y="1602"/>
                  </a:cubicBezTo>
                  <a:cubicBezTo>
                    <a:pt x="1775" y="1649"/>
                    <a:pt x="1753" y="1683"/>
                    <a:pt x="1718" y="1718"/>
                  </a:cubicBezTo>
                  <a:cubicBezTo>
                    <a:pt x="1683" y="1753"/>
                    <a:pt x="1649" y="1775"/>
                    <a:pt x="1602" y="1794"/>
                  </a:cubicBezTo>
                  <a:cubicBezTo>
                    <a:pt x="1567" y="1807"/>
                    <a:pt x="1513" y="1824"/>
                    <a:pt x="1415" y="1828"/>
                  </a:cubicBezTo>
                  <a:cubicBezTo>
                    <a:pt x="1309" y="1833"/>
                    <a:pt x="1277" y="1834"/>
                    <a:pt x="1008" y="1834"/>
                  </a:cubicBezTo>
                  <a:cubicBezTo>
                    <a:pt x="739" y="1834"/>
                    <a:pt x="707" y="1833"/>
                    <a:pt x="601" y="1828"/>
                  </a:cubicBezTo>
                  <a:cubicBezTo>
                    <a:pt x="503" y="1824"/>
                    <a:pt x="449" y="1807"/>
                    <a:pt x="414" y="1794"/>
                  </a:cubicBezTo>
                  <a:cubicBezTo>
                    <a:pt x="367" y="1775"/>
                    <a:pt x="333" y="1753"/>
                    <a:pt x="298" y="1718"/>
                  </a:cubicBezTo>
                  <a:cubicBezTo>
                    <a:pt x="263" y="1683"/>
                    <a:pt x="241" y="1649"/>
                    <a:pt x="222" y="1602"/>
                  </a:cubicBezTo>
                  <a:cubicBezTo>
                    <a:pt x="209" y="1567"/>
                    <a:pt x="192" y="1513"/>
                    <a:pt x="188" y="1415"/>
                  </a:cubicBezTo>
                  <a:cubicBezTo>
                    <a:pt x="183" y="1309"/>
                    <a:pt x="182" y="1277"/>
                    <a:pt x="182" y="1008"/>
                  </a:cubicBezTo>
                  <a:cubicBezTo>
                    <a:pt x="182" y="739"/>
                    <a:pt x="183" y="707"/>
                    <a:pt x="188" y="601"/>
                  </a:cubicBezTo>
                  <a:cubicBezTo>
                    <a:pt x="192" y="503"/>
                    <a:pt x="209" y="449"/>
                    <a:pt x="222" y="414"/>
                  </a:cubicBezTo>
                  <a:cubicBezTo>
                    <a:pt x="241" y="367"/>
                    <a:pt x="263" y="333"/>
                    <a:pt x="298" y="298"/>
                  </a:cubicBezTo>
                  <a:cubicBezTo>
                    <a:pt x="333" y="263"/>
                    <a:pt x="367" y="241"/>
                    <a:pt x="414" y="222"/>
                  </a:cubicBezTo>
                  <a:cubicBezTo>
                    <a:pt x="449" y="209"/>
                    <a:pt x="503" y="192"/>
                    <a:pt x="601" y="188"/>
                  </a:cubicBezTo>
                  <a:cubicBezTo>
                    <a:pt x="707" y="183"/>
                    <a:pt x="739" y="182"/>
                    <a:pt x="1008" y="182"/>
                  </a:cubicBezTo>
                  <a:moveTo>
                    <a:pt x="1008" y="0"/>
                  </a:moveTo>
                  <a:cubicBezTo>
                    <a:pt x="734" y="0"/>
                    <a:pt x="700" y="1"/>
                    <a:pt x="593" y="6"/>
                  </a:cubicBezTo>
                  <a:cubicBezTo>
                    <a:pt x="485" y="11"/>
                    <a:pt x="412" y="28"/>
                    <a:pt x="348" y="53"/>
                  </a:cubicBezTo>
                  <a:cubicBezTo>
                    <a:pt x="282" y="79"/>
                    <a:pt x="225" y="113"/>
                    <a:pt x="169" y="169"/>
                  </a:cubicBezTo>
                  <a:cubicBezTo>
                    <a:pt x="113" y="225"/>
                    <a:pt x="79" y="282"/>
                    <a:pt x="53" y="348"/>
                  </a:cubicBezTo>
                  <a:cubicBezTo>
                    <a:pt x="28" y="412"/>
                    <a:pt x="11" y="485"/>
                    <a:pt x="6" y="593"/>
                  </a:cubicBezTo>
                  <a:cubicBezTo>
                    <a:pt x="1" y="700"/>
                    <a:pt x="0" y="734"/>
                    <a:pt x="0" y="1008"/>
                  </a:cubicBezTo>
                  <a:cubicBezTo>
                    <a:pt x="0" y="1282"/>
                    <a:pt x="1" y="1316"/>
                    <a:pt x="6" y="1423"/>
                  </a:cubicBezTo>
                  <a:cubicBezTo>
                    <a:pt x="11" y="1531"/>
                    <a:pt x="28" y="1604"/>
                    <a:pt x="53" y="1668"/>
                  </a:cubicBezTo>
                  <a:cubicBezTo>
                    <a:pt x="79" y="1734"/>
                    <a:pt x="113" y="1791"/>
                    <a:pt x="169" y="1847"/>
                  </a:cubicBezTo>
                  <a:cubicBezTo>
                    <a:pt x="225" y="1903"/>
                    <a:pt x="282" y="1937"/>
                    <a:pt x="348" y="1963"/>
                  </a:cubicBezTo>
                  <a:cubicBezTo>
                    <a:pt x="412" y="1988"/>
                    <a:pt x="485" y="2005"/>
                    <a:pt x="593" y="2010"/>
                  </a:cubicBezTo>
                  <a:cubicBezTo>
                    <a:pt x="700" y="2015"/>
                    <a:pt x="734" y="2016"/>
                    <a:pt x="1008" y="2016"/>
                  </a:cubicBezTo>
                  <a:cubicBezTo>
                    <a:pt x="1282" y="2016"/>
                    <a:pt x="1316" y="2015"/>
                    <a:pt x="1423" y="2010"/>
                  </a:cubicBezTo>
                  <a:cubicBezTo>
                    <a:pt x="1531" y="2005"/>
                    <a:pt x="1604" y="1988"/>
                    <a:pt x="1668" y="1963"/>
                  </a:cubicBezTo>
                  <a:cubicBezTo>
                    <a:pt x="1734" y="1937"/>
                    <a:pt x="1791" y="1903"/>
                    <a:pt x="1847" y="1847"/>
                  </a:cubicBezTo>
                  <a:cubicBezTo>
                    <a:pt x="1903" y="1791"/>
                    <a:pt x="1937" y="1734"/>
                    <a:pt x="1963" y="1668"/>
                  </a:cubicBezTo>
                  <a:cubicBezTo>
                    <a:pt x="1988" y="1604"/>
                    <a:pt x="2005" y="1531"/>
                    <a:pt x="2010" y="1423"/>
                  </a:cubicBezTo>
                  <a:cubicBezTo>
                    <a:pt x="2015" y="1316"/>
                    <a:pt x="2016" y="1282"/>
                    <a:pt x="2016" y="1008"/>
                  </a:cubicBezTo>
                  <a:cubicBezTo>
                    <a:pt x="2016" y="734"/>
                    <a:pt x="2015" y="700"/>
                    <a:pt x="2010" y="593"/>
                  </a:cubicBezTo>
                  <a:cubicBezTo>
                    <a:pt x="2005" y="485"/>
                    <a:pt x="1988" y="412"/>
                    <a:pt x="1963" y="348"/>
                  </a:cubicBezTo>
                  <a:cubicBezTo>
                    <a:pt x="1937" y="282"/>
                    <a:pt x="1903" y="225"/>
                    <a:pt x="1847" y="169"/>
                  </a:cubicBezTo>
                  <a:cubicBezTo>
                    <a:pt x="1791" y="113"/>
                    <a:pt x="1734" y="79"/>
                    <a:pt x="1668" y="53"/>
                  </a:cubicBezTo>
                  <a:cubicBezTo>
                    <a:pt x="1604" y="28"/>
                    <a:pt x="1531" y="11"/>
                    <a:pt x="1423" y="6"/>
                  </a:cubicBezTo>
                  <a:cubicBezTo>
                    <a:pt x="1316" y="1"/>
                    <a:pt x="1282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7" name="Freeform 6">
              <a:hlinkClick r:id="rId8"/>
              <a:extLst>
                <a:ext uri="{FF2B5EF4-FFF2-40B4-BE49-F238E27FC236}">
                  <a16:creationId xmlns:a16="http://schemas.microsoft.com/office/drawing/2014/main" id="{182B4EAA-57A1-63F5-DA2A-719F74412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1" y="1550"/>
              <a:ext cx="1216" cy="1218"/>
            </a:xfrm>
            <a:custGeom>
              <a:avLst/>
              <a:gdLst>
                <a:gd name="T0" fmla="*/ 517 w 1034"/>
                <a:gd name="T1" fmla="*/ 0 h 1034"/>
                <a:gd name="T2" fmla="*/ 0 w 1034"/>
                <a:gd name="T3" fmla="*/ 517 h 1034"/>
                <a:gd name="T4" fmla="*/ 517 w 1034"/>
                <a:gd name="T5" fmla="*/ 1034 h 1034"/>
                <a:gd name="T6" fmla="*/ 1034 w 1034"/>
                <a:gd name="T7" fmla="*/ 517 h 1034"/>
                <a:gd name="T8" fmla="*/ 517 w 1034"/>
                <a:gd name="T9" fmla="*/ 0 h 1034"/>
                <a:gd name="T10" fmla="*/ 517 w 1034"/>
                <a:gd name="T11" fmla="*/ 853 h 1034"/>
                <a:gd name="T12" fmla="*/ 181 w 1034"/>
                <a:gd name="T13" fmla="*/ 517 h 1034"/>
                <a:gd name="T14" fmla="*/ 517 w 1034"/>
                <a:gd name="T15" fmla="*/ 181 h 1034"/>
                <a:gd name="T16" fmla="*/ 853 w 1034"/>
                <a:gd name="T17" fmla="*/ 517 h 1034"/>
                <a:gd name="T18" fmla="*/ 517 w 1034"/>
                <a:gd name="T19" fmla="*/ 853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4" h="1034">
                  <a:moveTo>
                    <a:pt x="517" y="0"/>
                  </a:moveTo>
                  <a:cubicBezTo>
                    <a:pt x="231" y="0"/>
                    <a:pt x="0" y="231"/>
                    <a:pt x="0" y="517"/>
                  </a:cubicBezTo>
                  <a:cubicBezTo>
                    <a:pt x="0" y="803"/>
                    <a:pt x="231" y="1034"/>
                    <a:pt x="517" y="1034"/>
                  </a:cubicBezTo>
                  <a:cubicBezTo>
                    <a:pt x="803" y="1034"/>
                    <a:pt x="1034" y="803"/>
                    <a:pt x="1034" y="517"/>
                  </a:cubicBezTo>
                  <a:cubicBezTo>
                    <a:pt x="1034" y="231"/>
                    <a:pt x="803" y="0"/>
                    <a:pt x="517" y="0"/>
                  </a:cubicBezTo>
                  <a:close/>
                  <a:moveTo>
                    <a:pt x="517" y="853"/>
                  </a:moveTo>
                  <a:cubicBezTo>
                    <a:pt x="331" y="853"/>
                    <a:pt x="181" y="703"/>
                    <a:pt x="181" y="517"/>
                  </a:cubicBezTo>
                  <a:cubicBezTo>
                    <a:pt x="181" y="331"/>
                    <a:pt x="331" y="181"/>
                    <a:pt x="517" y="181"/>
                  </a:cubicBezTo>
                  <a:cubicBezTo>
                    <a:pt x="703" y="181"/>
                    <a:pt x="853" y="331"/>
                    <a:pt x="853" y="517"/>
                  </a:cubicBezTo>
                  <a:cubicBezTo>
                    <a:pt x="853" y="703"/>
                    <a:pt x="703" y="853"/>
                    <a:pt x="517" y="8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1783AE1-BB6E-E4D8-85E8-F1ED658851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9" y="1383"/>
              <a:ext cx="285" cy="28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</p:grpSp>
      <p:pic>
        <p:nvPicPr>
          <p:cNvPr id="9" name="Graphic 8">
            <a:hlinkClick r:id="rId9"/>
            <a:extLst>
              <a:ext uri="{FF2B5EF4-FFF2-40B4-BE49-F238E27FC236}">
                <a16:creationId xmlns:a16="http://schemas.microsoft.com/office/drawing/2014/main" id="{418D54DC-A782-0287-FF5C-8A17B080B69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438744" y="5909556"/>
            <a:ext cx="278327" cy="260582"/>
          </a:xfrm>
          <a:prstGeom prst="rect">
            <a:avLst/>
          </a:prstGeom>
        </p:spPr>
      </p:pic>
      <p:pic>
        <p:nvPicPr>
          <p:cNvPr id="10" name="Picture 9">
            <a:hlinkClick r:id="rId12"/>
            <a:extLst>
              <a:ext uri="{FF2B5EF4-FFF2-40B4-BE49-F238E27FC236}">
                <a16:creationId xmlns:a16="http://schemas.microsoft.com/office/drawing/2014/main" id="{FE924EFA-C0A0-73C5-9581-72F0384CA99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4421" y="5889009"/>
            <a:ext cx="397241" cy="278565"/>
          </a:xfrm>
          <a:prstGeom prst="rect">
            <a:avLst/>
          </a:prstGeom>
        </p:spPr>
      </p:pic>
      <p:pic>
        <p:nvPicPr>
          <p:cNvPr id="11" name="Picture 10" descr="A blue and black logo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569E695B-B444-EA83-11E7-7E711B7CA6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biLevel thresh="25000"/>
          </a:blip>
          <a:srcRect r="14227"/>
          <a:stretch/>
        </p:blipFill>
        <p:spPr>
          <a:xfrm>
            <a:off x="510677" y="5832610"/>
            <a:ext cx="353151" cy="34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384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ia Closing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Graphic 35">
            <a:extLst>
              <a:ext uri="{FF2B5EF4-FFF2-40B4-BE49-F238E27FC236}">
                <a16:creationId xmlns:a16="http://schemas.microsoft.com/office/drawing/2014/main" id="{26A658D9-FDD7-AE35-DCB0-F1A9C68DC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05" r="305"/>
          <a:stretch/>
        </p:blipFill>
        <p:spPr>
          <a:xfrm>
            <a:off x="3100769" y="2166865"/>
            <a:ext cx="5724144" cy="182011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41E86AFE-0F86-43A6-C6AF-F8F6B304A182}"/>
              </a:ext>
            </a:extLst>
          </p:cNvPr>
          <p:cNvSpPr txBox="1"/>
          <p:nvPr userDrawn="1"/>
        </p:nvSpPr>
        <p:spPr>
          <a:xfrm>
            <a:off x="493288" y="6562481"/>
            <a:ext cx="529384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p:pic>
        <p:nvPicPr>
          <p:cNvPr id="2" name="Picture 1">
            <a:hlinkClick r:id="rId6"/>
            <a:extLst>
              <a:ext uri="{FF2B5EF4-FFF2-40B4-BE49-F238E27FC236}">
                <a16:creationId xmlns:a16="http://schemas.microsoft.com/office/drawing/2014/main" id="{822E78B8-42C3-D6C5-66CB-208A1554B7E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9458" y="5893254"/>
            <a:ext cx="355199" cy="2743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E38F27C-6736-2FCB-E658-DB1B01FBC9BC}"/>
              </a:ext>
            </a:extLst>
          </p:cNvPr>
          <p:cNvSpPr txBox="1"/>
          <p:nvPr userDrawn="1"/>
        </p:nvSpPr>
        <p:spPr>
          <a:xfrm>
            <a:off x="510677" y="5464171"/>
            <a:ext cx="124107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00" b="0" i="0" dirty="0">
                <a:solidFill>
                  <a:schemeClr val="bg1"/>
                </a:solidFill>
                <a:effectLst/>
                <a:latin typeface="+mn-lt"/>
                <a:ea typeface="ES Build" pitchFamily="2" charset="77"/>
              </a:rPr>
              <a:t>Follow us!</a:t>
            </a:r>
            <a:endParaRPr lang="en-US" sz="1600" dirty="0">
              <a:solidFill>
                <a:schemeClr val="bg1"/>
              </a:solidFill>
              <a:latin typeface="+mn-lt"/>
              <a:ea typeface="ES Build" pitchFamily="2" charset="77"/>
            </a:endParaRPr>
          </a:p>
        </p:txBody>
      </p:sp>
      <p:sp>
        <p:nvSpPr>
          <p:cNvPr id="4" name="Freeform 5">
            <a:hlinkClick r:id="rId8"/>
            <a:extLst>
              <a:ext uri="{FF2B5EF4-FFF2-40B4-BE49-F238E27FC236}">
                <a16:creationId xmlns:a16="http://schemas.microsoft.com/office/drawing/2014/main" id="{407F653C-0E3A-519E-2EBB-B623DB653D74}"/>
              </a:ext>
            </a:extLst>
          </p:cNvPr>
          <p:cNvSpPr>
            <a:spLocks/>
          </p:cNvSpPr>
          <p:nvPr userDrawn="1"/>
        </p:nvSpPr>
        <p:spPr bwMode="gray">
          <a:xfrm>
            <a:off x="1087489" y="5895294"/>
            <a:ext cx="127593" cy="275200"/>
          </a:xfrm>
          <a:custGeom>
            <a:avLst/>
            <a:gdLst>
              <a:gd name="T0" fmla="*/ 60 w 90"/>
              <a:gd name="T1" fmla="*/ 193 h 193"/>
              <a:gd name="T2" fmla="*/ 20 w 90"/>
              <a:gd name="T3" fmla="*/ 193 h 193"/>
              <a:gd name="T4" fmla="*/ 20 w 90"/>
              <a:gd name="T5" fmla="*/ 97 h 193"/>
              <a:gd name="T6" fmla="*/ 0 w 90"/>
              <a:gd name="T7" fmla="*/ 97 h 193"/>
              <a:gd name="T8" fmla="*/ 0 w 90"/>
              <a:gd name="T9" fmla="*/ 63 h 193"/>
              <a:gd name="T10" fmla="*/ 20 w 90"/>
              <a:gd name="T11" fmla="*/ 63 h 193"/>
              <a:gd name="T12" fmla="*/ 20 w 90"/>
              <a:gd name="T13" fmla="*/ 44 h 193"/>
              <a:gd name="T14" fmla="*/ 63 w 90"/>
              <a:gd name="T15" fmla="*/ 0 h 193"/>
              <a:gd name="T16" fmla="*/ 89 w 90"/>
              <a:gd name="T17" fmla="*/ 0 h 193"/>
              <a:gd name="T18" fmla="*/ 89 w 90"/>
              <a:gd name="T19" fmla="*/ 34 h 193"/>
              <a:gd name="T20" fmla="*/ 73 w 90"/>
              <a:gd name="T21" fmla="*/ 34 h 193"/>
              <a:gd name="T22" fmla="*/ 60 w 90"/>
              <a:gd name="T23" fmla="*/ 47 h 193"/>
              <a:gd name="T24" fmla="*/ 60 w 90"/>
              <a:gd name="T25" fmla="*/ 63 h 193"/>
              <a:gd name="T26" fmla="*/ 90 w 90"/>
              <a:gd name="T27" fmla="*/ 63 h 193"/>
              <a:gd name="T28" fmla="*/ 86 w 90"/>
              <a:gd name="T29" fmla="*/ 97 h 193"/>
              <a:gd name="T30" fmla="*/ 60 w 90"/>
              <a:gd name="T31" fmla="*/ 97 h 193"/>
              <a:gd name="T32" fmla="*/ 60 w 90"/>
              <a:gd name="T33" fmla="*/ 1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0" h="193">
                <a:moveTo>
                  <a:pt x="60" y="193"/>
                </a:moveTo>
                <a:cubicBezTo>
                  <a:pt x="20" y="193"/>
                  <a:pt x="20" y="193"/>
                  <a:pt x="20" y="193"/>
                </a:cubicBezTo>
                <a:cubicBezTo>
                  <a:pt x="20" y="97"/>
                  <a:pt x="20" y="97"/>
                  <a:pt x="2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63"/>
                  <a:pt x="0" y="63"/>
                  <a:pt x="0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20" y="44"/>
                  <a:pt x="20" y="44"/>
                  <a:pt x="20" y="44"/>
                </a:cubicBezTo>
                <a:cubicBezTo>
                  <a:pt x="20" y="16"/>
                  <a:pt x="31" y="0"/>
                  <a:pt x="63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9" y="34"/>
                  <a:pt x="89" y="34"/>
                  <a:pt x="89" y="34"/>
                </a:cubicBezTo>
                <a:cubicBezTo>
                  <a:pt x="73" y="34"/>
                  <a:pt x="73" y="34"/>
                  <a:pt x="73" y="34"/>
                </a:cubicBezTo>
                <a:cubicBezTo>
                  <a:pt x="60" y="34"/>
                  <a:pt x="60" y="38"/>
                  <a:pt x="60" y="47"/>
                </a:cubicBezTo>
                <a:cubicBezTo>
                  <a:pt x="60" y="63"/>
                  <a:pt x="60" y="63"/>
                  <a:pt x="60" y="63"/>
                </a:cubicBezTo>
                <a:cubicBezTo>
                  <a:pt x="90" y="63"/>
                  <a:pt x="90" y="63"/>
                  <a:pt x="90" y="63"/>
                </a:cubicBezTo>
                <a:cubicBezTo>
                  <a:pt x="86" y="97"/>
                  <a:pt x="86" y="97"/>
                  <a:pt x="86" y="97"/>
                </a:cubicBezTo>
                <a:cubicBezTo>
                  <a:pt x="60" y="97"/>
                  <a:pt x="60" y="97"/>
                  <a:pt x="60" y="97"/>
                </a:cubicBezTo>
                <a:lnTo>
                  <a:pt x="60" y="1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S Build" pitchFamily="50" charset="0"/>
              <a:ea typeface="+mn-ea"/>
              <a:cs typeface="+mn-cs"/>
            </a:endParaRP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4D7CB47B-7429-8CDB-6B5C-456BAF1C57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935296" y="5891573"/>
            <a:ext cx="278329" cy="278565"/>
            <a:chOff x="2653" y="972"/>
            <a:chExt cx="2372" cy="2374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60FE4E-5DE0-B985-CB62-07F69B2252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3" y="972"/>
              <a:ext cx="2372" cy="2374"/>
            </a:xfrm>
            <a:custGeom>
              <a:avLst/>
              <a:gdLst>
                <a:gd name="T0" fmla="*/ 1008 w 2016"/>
                <a:gd name="T1" fmla="*/ 182 h 2016"/>
                <a:gd name="T2" fmla="*/ 1415 w 2016"/>
                <a:gd name="T3" fmla="*/ 188 h 2016"/>
                <a:gd name="T4" fmla="*/ 1602 w 2016"/>
                <a:gd name="T5" fmla="*/ 222 h 2016"/>
                <a:gd name="T6" fmla="*/ 1718 w 2016"/>
                <a:gd name="T7" fmla="*/ 298 h 2016"/>
                <a:gd name="T8" fmla="*/ 1794 w 2016"/>
                <a:gd name="T9" fmla="*/ 414 h 2016"/>
                <a:gd name="T10" fmla="*/ 1828 w 2016"/>
                <a:gd name="T11" fmla="*/ 601 h 2016"/>
                <a:gd name="T12" fmla="*/ 1834 w 2016"/>
                <a:gd name="T13" fmla="*/ 1008 h 2016"/>
                <a:gd name="T14" fmla="*/ 1828 w 2016"/>
                <a:gd name="T15" fmla="*/ 1415 h 2016"/>
                <a:gd name="T16" fmla="*/ 1794 w 2016"/>
                <a:gd name="T17" fmla="*/ 1602 h 2016"/>
                <a:gd name="T18" fmla="*/ 1718 w 2016"/>
                <a:gd name="T19" fmla="*/ 1718 h 2016"/>
                <a:gd name="T20" fmla="*/ 1602 w 2016"/>
                <a:gd name="T21" fmla="*/ 1794 h 2016"/>
                <a:gd name="T22" fmla="*/ 1415 w 2016"/>
                <a:gd name="T23" fmla="*/ 1828 h 2016"/>
                <a:gd name="T24" fmla="*/ 1008 w 2016"/>
                <a:gd name="T25" fmla="*/ 1834 h 2016"/>
                <a:gd name="T26" fmla="*/ 601 w 2016"/>
                <a:gd name="T27" fmla="*/ 1828 h 2016"/>
                <a:gd name="T28" fmla="*/ 414 w 2016"/>
                <a:gd name="T29" fmla="*/ 1794 h 2016"/>
                <a:gd name="T30" fmla="*/ 298 w 2016"/>
                <a:gd name="T31" fmla="*/ 1718 h 2016"/>
                <a:gd name="T32" fmla="*/ 222 w 2016"/>
                <a:gd name="T33" fmla="*/ 1602 h 2016"/>
                <a:gd name="T34" fmla="*/ 188 w 2016"/>
                <a:gd name="T35" fmla="*/ 1415 h 2016"/>
                <a:gd name="T36" fmla="*/ 182 w 2016"/>
                <a:gd name="T37" fmla="*/ 1008 h 2016"/>
                <a:gd name="T38" fmla="*/ 188 w 2016"/>
                <a:gd name="T39" fmla="*/ 601 h 2016"/>
                <a:gd name="T40" fmla="*/ 222 w 2016"/>
                <a:gd name="T41" fmla="*/ 414 h 2016"/>
                <a:gd name="T42" fmla="*/ 298 w 2016"/>
                <a:gd name="T43" fmla="*/ 298 h 2016"/>
                <a:gd name="T44" fmla="*/ 414 w 2016"/>
                <a:gd name="T45" fmla="*/ 222 h 2016"/>
                <a:gd name="T46" fmla="*/ 601 w 2016"/>
                <a:gd name="T47" fmla="*/ 188 h 2016"/>
                <a:gd name="T48" fmla="*/ 1008 w 2016"/>
                <a:gd name="T49" fmla="*/ 182 h 2016"/>
                <a:gd name="T50" fmla="*/ 1008 w 2016"/>
                <a:gd name="T51" fmla="*/ 0 h 2016"/>
                <a:gd name="T52" fmla="*/ 593 w 2016"/>
                <a:gd name="T53" fmla="*/ 6 h 2016"/>
                <a:gd name="T54" fmla="*/ 348 w 2016"/>
                <a:gd name="T55" fmla="*/ 53 h 2016"/>
                <a:gd name="T56" fmla="*/ 169 w 2016"/>
                <a:gd name="T57" fmla="*/ 169 h 2016"/>
                <a:gd name="T58" fmla="*/ 53 w 2016"/>
                <a:gd name="T59" fmla="*/ 348 h 2016"/>
                <a:gd name="T60" fmla="*/ 6 w 2016"/>
                <a:gd name="T61" fmla="*/ 593 h 2016"/>
                <a:gd name="T62" fmla="*/ 0 w 2016"/>
                <a:gd name="T63" fmla="*/ 1008 h 2016"/>
                <a:gd name="T64" fmla="*/ 6 w 2016"/>
                <a:gd name="T65" fmla="*/ 1423 h 2016"/>
                <a:gd name="T66" fmla="*/ 53 w 2016"/>
                <a:gd name="T67" fmla="*/ 1668 h 2016"/>
                <a:gd name="T68" fmla="*/ 169 w 2016"/>
                <a:gd name="T69" fmla="*/ 1847 h 2016"/>
                <a:gd name="T70" fmla="*/ 348 w 2016"/>
                <a:gd name="T71" fmla="*/ 1963 h 2016"/>
                <a:gd name="T72" fmla="*/ 593 w 2016"/>
                <a:gd name="T73" fmla="*/ 2010 h 2016"/>
                <a:gd name="T74" fmla="*/ 1008 w 2016"/>
                <a:gd name="T75" fmla="*/ 2016 h 2016"/>
                <a:gd name="T76" fmla="*/ 1423 w 2016"/>
                <a:gd name="T77" fmla="*/ 2010 h 2016"/>
                <a:gd name="T78" fmla="*/ 1668 w 2016"/>
                <a:gd name="T79" fmla="*/ 1963 h 2016"/>
                <a:gd name="T80" fmla="*/ 1847 w 2016"/>
                <a:gd name="T81" fmla="*/ 1847 h 2016"/>
                <a:gd name="T82" fmla="*/ 1963 w 2016"/>
                <a:gd name="T83" fmla="*/ 1668 h 2016"/>
                <a:gd name="T84" fmla="*/ 2010 w 2016"/>
                <a:gd name="T85" fmla="*/ 1423 h 2016"/>
                <a:gd name="T86" fmla="*/ 2016 w 2016"/>
                <a:gd name="T87" fmla="*/ 1008 h 2016"/>
                <a:gd name="T88" fmla="*/ 2010 w 2016"/>
                <a:gd name="T89" fmla="*/ 593 h 2016"/>
                <a:gd name="T90" fmla="*/ 1963 w 2016"/>
                <a:gd name="T91" fmla="*/ 348 h 2016"/>
                <a:gd name="T92" fmla="*/ 1847 w 2016"/>
                <a:gd name="T93" fmla="*/ 169 h 2016"/>
                <a:gd name="T94" fmla="*/ 1668 w 2016"/>
                <a:gd name="T95" fmla="*/ 53 h 2016"/>
                <a:gd name="T96" fmla="*/ 1423 w 2016"/>
                <a:gd name="T97" fmla="*/ 6 h 2016"/>
                <a:gd name="T98" fmla="*/ 1008 w 2016"/>
                <a:gd name="T99" fmla="*/ 0 h 2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16" h="2016">
                  <a:moveTo>
                    <a:pt x="1008" y="182"/>
                  </a:moveTo>
                  <a:cubicBezTo>
                    <a:pt x="1277" y="182"/>
                    <a:pt x="1309" y="183"/>
                    <a:pt x="1415" y="188"/>
                  </a:cubicBezTo>
                  <a:cubicBezTo>
                    <a:pt x="1513" y="192"/>
                    <a:pt x="1567" y="209"/>
                    <a:pt x="1602" y="222"/>
                  </a:cubicBezTo>
                  <a:cubicBezTo>
                    <a:pt x="1649" y="241"/>
                    <a:pt x="1683" y="263"/>
                    <a:pt x="1718" y="298"/>
                  </a:cubicBezTo>
                  <a:cubicBezTo>
                    <a:pt x="1753" y="333"/>
                    <a:pt x="1775" y="367"/>
                    <a:pt x="1794" y="414"/>
                  </a:cubicBezTo>
                  <a:cubicBezTo>
                    <a:pt x="1807" y="449"/>
                    <a:pt x="1824" y="503"/>
                    <a:pt x="1828" y="601"/>
                  </a:cubicBezTo>
                  <a:cubicBezTo>
                    <a:pt x="1833" y="707"/>
                    <a:pt x="1834" y="739"/>
                    <a:pt x="1834" y="1008"/>
                  </a:cubicBezTo>
                  <a:cubicBezTo>
                    <a:pt x="1834" y="1277"/>
                    <a:pt x="1833" y="1309"/>
                    <a:pt x="1828" y="1415"/>
                  </a:cubicBezTo>
                  <a:cubicBezTo>
                    <a:pt x="1824" y="1513"/>
                    <a:pt x="1807" y="1567"/>
                    <a:pt x="1794" y="1602"/>
                  </a:cubicBezTo>
                  <a:cubicBezTo>
                    <a:pt x="1775" y="1649"/>
                    <a:pt x="1753" y="1683"/>
                    <a:pt x="1718" y="1718"/>
                  </a:cubicBezTo>
                  <a:cubicBezTo>
                    <a:pt x="1683" y="1753"/>
                    <a:pt x="1649" y="1775"/>
                    <a:pt x="1602" y="1794"/>
                  </a:cubicBezTo>
                  <a:cubicBezTo>
                    <a:pt x="1567" y="1807"/>
                    <a:pt x="1513" y="1824"/>
                    <a:pt x="1415" y="1828"/>
                  </a:cubicBezTo>
                  <a:cubicBezTo>
                    <a:pt x="1309" y="1833"/>
                    <a:pt x="1277" y="1834"/>
                    <a:pt x="1008" y="1834"/>
                  </a:cubicBezTo>
                  <a:cubicBezTo>
                    <a:pt x="739" y="1834"/>
                    <a:pt x="707" y="1833"/>
                    <a:pt x="601" y="1828"/>
                  </a:cubicBezTo>
                  <a:cubicBezTo>
                    <a:pt x="503" y="1824"/>
                    <a:pt x="449" y="1807"/>
                    <a:pt x="414" y="1794"/>
                  </a:cubicBezTo>
                  <a:cubicBezTo>
                    <a:pt x="367" y="1775"/>
                    <a:pt x="333" y="1753"/>
                    <a:pt x="298" y="1718"/>
                  </a:cubicBezTo>
                  <a:cubicBezTo>
                    <a:pt x="263" y="1683"/>
                    <a:pt x="241" y="1649"/>
                    <a:pt x="222" y="1602"/>
                  </a:cubicBezTo>
                  <a:cubicBezTo>
                    <a:pt x="209" y="1567"/>
                    <a:pt x="192" y="1513"/>
                    <a:pt x="188" y="1415"/>
                  </a:cubicBezTo>
                  <a:cubicBezTo>
                    <a:pt x="183" y="1309"/>
                    <a:pt x="182" y="1277"/>
                    <a:pt x="182" y="1008"/>
                  </a:cubicBezTo>
                  <a:cubicBezTo>
                    <a:pt x="182" y="739"/>
                    <a:pt x="183" y="707"/>
                    <a:pt x="188" y="601"/>
                  </a:cubicBezTo>
                  <a:cubicBezTo>
                    <a:pt x="192" y="503"/>
                    <a:pt x="209" y="449"/>
                    <a:pt x="222" y="414"/>
                  </a:cubicBezTo>
                  <a:cubicBezTo>
                    <a:pt x="241" y="367"/>
                    <a:pt x="263" y="333"/>
                    <a:pt x="298" y="298"/>
                  </a:cubicBezTo>
                  <a:cubicBezTo>
                    <a:pt x="333" y="263"/>
                    <a:pt x="367" y="241"/>
                    <a:pt x="414" y="222"/>
                  </a:cubicBezTo>
                  <a:cubicBezTo>
                    <a:pt x="449" y="209"/>
                    <a:pt x="503" y="192"/>
                    <a:pt x="601" y="188"/>
                  </a:cubicBezTo>
                  <a:cubicBezTo>
                    <a:pt x="707" y="183"/>
                    <a:pt x="739" y="182"/>
                    <a:pt x="1008" y="182"/>
                  </a:cubicBezTo>
                  <a:moveTo>
                    <a:pt x="1008" y="0"/>
                  </a:moveTo>
                  <a:cubicBezTo>
                    <a:pt x="734" y="0"/>
                    <a:pt x="700" y="1"/>
                    <a:pt x="593" y="6"/>
                  </a:cubicBezTo>
                  <a:cubicBezTo>
                    <a:pt x="485" y="11"/>
                    <a:pt x="412" y="28"/>
                    <a:pt x="348" y="53"/>
                  </a:cubicBezTo>
                  <a:cubicBezTo>
                    <a:pt x="282" y="79"/>
                    <a:pt x="225" y="113"/>
                    <a:pt x="169" y="169"/>
                  </a:cubicBezTo>
                  <a:cubicBezTo>
                    <a:pt x="113" y="225"/>
                    <a:pt x="79" y="282"/>
                    <a:pt x="53" y="348"/>
                  </a:cubicBezTo>
                  <a:cubicBezTo>
                    <a:pt x="28" y="412"/>
                    <a:pt x="11" y="485"/>
                    <a:pt x="6" y="593"/>
                  </a:cubicBezTo>
                  <a:cubicBezTo>
                    <a:pt x="1" y="700"/>
                    <a:pt x="0" y="734"/>
                    <a:pt x="0" y="1008"/>
                  </a:cubicBezTo>
                  <a:cubicBezTo>
                    <a:pt x="0" y="1282"/>
                    <a:pt x="1" y="1316"/>
                    <a:pt x="6" y="1423"/>
                  </a:cubicBezTo>
                  <a:cubicBezTo>
                    <a:pt x="11" y="1531"/>
                    <a:pt x="28" y="1604"/>
                    <a:pt x="53" y="1668"/>
                  </a:cubicBezTo>
                  <a:cubicBezTo>
                    <a:pt x="79" y="1734"/>
                    <a:pt x="113" y="1791"/>
                    <a:pt x="169" y="1847"/>
                  </a:cubicBezTo>
                  <a:cubicBezTo>
                    <a:pt x="225" y="1903"/>
                    <a:pt x="282" y="1937"/>
                    <a:pt x="348" y="1963"/>
                  </a:cubicBezTo>
                  <a:cubicBezTo>
                    <a:pt x="412" y="1988"/>
                    <a:pt x="485" y="2005"/>
                    <a:pt x="593" y="2010"/>
                  </a:cubicBezTo>
                  <a:cubicBezTo>
                    <a:pt x="700" y="2015"/>
                    <a:pt x="734" y="2016"/>
                    <a:pt x="1008" y="2016"/>
                  </a:cubicBezTo>
                  <a:cubicBezTo>
                    <a:pt x="1282" y="2016"/>
                    <a:pt x="1316" y="2015"/>
                    <a:pt x="1423" y="2010"/>
                  </a:cubicBezTo>
                  <a:cubicBezTo>
                    <a:pt x="1531" y="2005"/>
                    <a:pt x="1604" y="1988"/>
                    <a:pt x="1668" y="1963"/>
                  </a:cubicBezTo>
                  <a:cubicBezTo>
                    <a:pt x="1734" y="1937"/>
                    <a:pt x="1791" y="1903"/>
                    <a:pt x="1847" y="1847"/>
                  </a:cubicBezTo>
                  <a:cubicBezTo>
                    <a:pt x="1903" y="1791"/>
                    <a:pt x="1937" y="1734"/>
                    <a:pt x="1963" y="1668"/>
                  </a:cubicBezTo>
                  <a:cubicBezTo>
                    <a:pt x="1988" y="1604"/>
                    <a:pt x="2005" y="1531"/>
                    <a:pt x="2010" y="1423"/>
                  </a:cubicBezTo>
                  <a:cubicBezTo>
                    <a:pt x="2015" y="1316"/>
                    <a:pt x="2016" y="1282"/>
                    <a:pt x="2016" y="1008"/>
                  </a:cubicBezTo>
                  <a:cubicBezTo>
                    <a:pt x="2016" y="734"/>
                    <a:pt x="2015" y="700"/>
                    <a:pt x="2010" y="593"/>
                  </a:cubicBezTo>
                  <a:cubicBezTo>
                    <a:pt x="2005" y="485"/>
                    <a:pt x="1988" y="412"/>
                    <a:pt x="1963" y="348"/>
                  </a:cubicBezTo>
                  <a:cubicBezTo>
                    <a:pt x="1937" y="282"/>
                    <a:pt x="1903" y="225"/>
                    <a:pt x="1847" y="169"/>
                  </a:cubicBezTo>
                  <a:cubicBezTo>
                    <a:pt x="1791" y="113"/>
                    <a:pt x="1734" y="79"/>
                    <a:pt x="1668" y="53"/>
                  </a:cubicBezTo>
                  <a:cubicBezTo>
                    <a:pt x="1604" y="28"/>
                    <a:pt x="1531" y="11"/>
                    <a:pt x="1423" y="6"/>
                  </a:cubicBezTo>
                  <a:cubicBezTo>
                    <a:pt x="1316" y="1"/>
                    <a:pt x="1282" y="0"/>
                    <a:pt x="100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9" name="Freeform 6">
              <a:hlinkClick r:id="rId9"/>
              <a:extLst>
                <a:ext uri="{FF2B5EF4-FFF2-40B4-BE49-F238E27FC236}">
                  <a16:creationId xmlns:a16="http://schemas.microsoft.com/office/drawing/2014/main" id="{441143AA-A551-B1E2-77F2-E3FD3DB7B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1" y="1550"/>
              <a:ext cx="1216" cy="1218"/>
            </a:xfrm>
            <a:custGeom>
              <a:avLst/>
              <a:gdLst>
                <a:gd name="T0" fmla="*/ 517 w 1034"/>
                <a:gd name="T1" fmla="*/ 0 h 1034"/>
                <a:gd name="T2" fmla="*/ 0 w 1034"/>
                <a:gd name="T3" fmla="*/ 517 h 1034"/>
                <a:gd name="T4" fmla="*/ 517 w 1034"/>
                <a:gd name="T5" fmla="*/ 1034 h 1034"/>
                <a:gd name="T6" fmla="*/ 1034 w 1034"/>
                <a:gd name="T7" fmla="*/ 517 h 1034"/>
                <a:gd name="T8" fmla="*/ 517 w 1034"/>
                <a:gd name="T9" fmla="*/ 0 h 1034"/>
                <a:gd name="T10" fmla="*/ 517 w 1034"/>
                <a:gd name="T11" fmla="*/ 853 h 1034"/>
                <a:gd name="T12" fmla="*/ 181 w 1034"/>
                <a:gd name="T13" fmla="*/ 517 h 1034"/>
                <a:gd name="T14" fmla="*/ 517 w 1034"/>
                <a:gd name="T15" fmla="*/ 181 h 1034"/>
                <a:gd name="T16" fmla="*/ 853 w 1034"/>
                <a:gd name="T17" fmla="*/ 517 h 1034"/>
                <a:gd name="T18" fmla="*/ 517 w 1034"/>
                <a:gd name="T19" fmla="*/ 853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4" h="1034">
                  <a:moveTo>
                    <a:pt x="517" y="0"/>
                  </a:moveTo>
                  <a:cubicBezTo>
                    <a:pt x="231" y="0"/>
                    <a:pt x="0" y="231"/>
                    <a:pt x="0" y="517"/>
                  </a:cubicBezTo>
                  <a:cubicBezTo>
                    <a:pt x="0" y="803"/>
                    <a:pt x="231" y="1034"/>
                    <a:pt x="517" y="1034"/>
                  </a:cubicBezTo>
                  <a:cubicBezTo>
                    <a:pt x="803" y="1034"/>
                    <a:pt x="1034" y="803"/>
                    <a:pt x="1034" y="517"/>
                  </a:cubicBezTo>
                  <a:cubicBezTo>
                    <a:pt x="1034" y="231"/>
                    <a:pt x="803" y="0"/>
                    <a:pt x="517" y="0"/>
                  </a:cubicBezTo>
                  <a:close/>
                  <a:moveTo>
                    <a:pt x="517" y="853"/>
                  </a:moveTo>
                  <a:cubicBezTo>
                    <a:pt x="331" y="853"/>
                    <a:pt x="181" y="703"/>
                    <a:pt x="181" y="517"/>
                  </a:cubicBezTo>
                  <a:cubicBezTo>
                    <a:pt x="181" y="331"/>
                    <a:pt x="331" y="181"/>
                    <a:pt x="517" y="181"/>
                  </a:cubicBezTo>
                  <a:cubicBezTo>
                    <a:pt x="703" y="181"/>
                    <a:pt x="853" y="331"/>
                    <a:pt x="853" y="517"/>
                  </a:cubicBezTo>
                  <a:cubicBezTo>
                    <a:pt x="853" y="703"/>
                    <a:pt x="703" y="853"/>
                    <a:pt x="517" y="8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1AAD85C4-5274-2A52-B261-5F4A53C94C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9" y="1383"/>
              <a:ext cx="285" cy="28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/>
            </a:p>
          </p:txBody>
        </p:sp>
      </p:grpSp>
      <p:pic>
        <p:nvPicPr>
          <p:cNvPr id="11" name="Graphic 10">
            <a:hlinkClick r:id="rId10"/>
            <a:extLst>
              <a:ext uri="{FF2B5EF4-FFF2-40B4-BE49-F238E27FC236}">
                <a16:creationId xmlns:a16="http://schemas.microsoft.com/office/drawing/2014/main" id="{FD66270E-CBB0-5B27-6466-5C09067314A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38744" y="5909556"/>
            <a:ext cx="278327" cy="26058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401681-5398-C907-8ED2-B0EE7BBB960F}"/>
              </a:ext>
            </a:extLst>
          </p:cNvPr>
          <p:cNvCxnSpPr/>
          <p:nvPr userDrawn="1"/>
        </p:nvCxnSpPr>
        <p:spPr>
          <a:xfrm>
            <a:off x="3089964" y="5526724"/>
            <a:ext cx="0" cy="678583"/>
          </a:xfrm>
          <a:prstGeom prst="line">
            <a:avLst/>
          </a:prstGeom>
          <a:ln w="12700" cap="rnd">
            <a:solidFill>
              <a:schemeClr val="bg1"/>
            </a:solidFill>
            <a:round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hlinkClick r:id="rId13"/>
            <a:extLst>
              <a:ext uri="{FF2B5EF4-FFF2-40B4-BE49-F238E27FC236}">
                <a16:creationId xmlns:a16="http://schemas.microsoft.com/office/drawing/2014/main" id="{F5AD6E3D-DCEB-1840-E98A-A2F4A4D22C0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4421" y="5889009"/>
            <a:ext cx="397241" cy="27856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B30B114-2C27-BC7D-682B-A95FF968E18D}"/>
              </a:ext>
            </a:extLst>
          </p:cNvPr>
          <p:cNvSpPr txBox="1"/>
          <p:nvPr userDrawn="1"/>
        </p:nvSpPr>
        <p:spPr>
          <a:xfrm>
            <a:off x="3370214" y="5464171"/>
            <a:ext cx="243496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600" b="0" i="0">
                <a:solidFill>
                  <a:schemeClr val="bg1"/>
                </a:solidFill>
                <a:effectLst/>
                <a:ea typeface="ES Build" pitchFamily="2" charset="77"/>
              </a:defRPr>
            </a:lvl1pPr>
          </a:lstStyle>
          <a:p>
            <a:r>
              <a:rPr lang="en-US"/>
              <a:t>Join the community hub:</a:t>
            </a:r>
          </a:p>
        </p:txBody>
      </p:sp>
      <p:pic>
        <p:nvPicPr>
          <p:cNvPr id="15" name="Picture 14" descr="A blue and black logo&#10;&#10;Description automatically generated">
            <a:hlinkClick r:id="rId15"/>
            <a:extLst>
              <a:ext uri="{FF2B5EF4-FFF2-40B4-BE49-F238E27FC236}">
                <a16:creationId xmlns:a16="http://schemas.microsoft.com/office/drawing/2014/main" id="{798720E0-2DD0-3264-1778-5D3DB0EB83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biLevel thresh="25000"/>
          </a:blip>
          <a:srcRect r="14227"/>
          <a:stretch/>
        </p:blipFill>
        <p:spPr>
          <a:xfrm>
            <a:off x="510677" y="5832610"/>
            <a:ext cx="353151" cy="34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588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. Logo+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4E4B48-1655-6D06-D015-4B057F75CB8B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564BEA"/>
              </a:gs>
              <a:gs pos="43000">
                <a:srgbClr val="392D92"/>
              </a:gs>
            </a:gsLst>
            <a:lin ang="18900000" scaled="1"/>
          </a:gra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6096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738" fontAlgn="base">
              <a:spcBef>
                <a:spcPct val="0"/>
              </a:spcBef>
              <a:spcAft>
                <a:spcPct val="0"/>
              </a:spcAft>
            </a:pPr>
            <a:endParaRPr lang="en-RU" sz="2400" spc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8B759A06-5F54-4BC3-9946-A426E94B4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1692" y="6590877"/>
            <a:ext cx="702309" cy="126656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C9E7686-B797-430E-9AB7-31CAE93591D7}"/>
              </a:ext>
            </a:extLst>
          </p:cNvPr>
          <p:cNvSpPr txBox="1"/>
          <p:nvPr userDrawn="1"/>
        </p:nvSpPr>
        <p:spPr>
          <a:xfrm>
            <a:off x="508002" y="6617675"/>
            <a:ext cx="4898777" cy="1026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667" spc="0" dirty="0">
                <a:solidFill>
                  <a:schemeClr val="bg1">
                    <a:alpha val="50000"/>
                  </a:schemeClr>
                </a:solidFill>
                <a:latin typeface="+mn-lt"/>
              </a:rPr>
              <a:t>© 2024 Veeam Software. Confidential information. All rights reserved. All trademarks are the property of their respective owners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5D0E7-4FF0-ED1D-69C3-4B90078400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279400"/>
            <a:ext cx="11176000" cy="71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3733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762933-7837-4E3E-DFB9-C5544908F2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53000"/>
                    </a14:imgEffect>
                  </a14:imgLayer>
                </a14:imgProps>
              </a:ext>
            </a:extLst>
          </a:blip>
          <a:srcRect r="44616"/>
          <a:stretch/>
        </p:blipFill>
        <p:spPr>
          <a:xfrm rot="21276435">
            <a:off x="8359823" y="1128141"/>
            <a:ext cx="4153883" cy="6650443"/>
          </a:xfrm>
          <a:custGeom>
            <a:avLst/>
            <a:gdLst>
              <a:gd name="connsiteX0" fmla="*/ 3115412 w 3115412"/>
              <a:gd name="connsiteY0" fmla="*/ 0 h 4987832"/>
              <a:gd name="connsiteX1" fmla="*/ 2644559 w 3115412"/>
              <a:gd name="connsiteY1" fmla="*/ 4987832 h 4987832"/>
              <a:gd name="connsiteX2" fmla="*/ 0 w 3115412"/>
              <a:gd name="connsiteY2" fmla="*/ 4987832 h 4987832"/>
              <a:gd name="connsiteX3" fmla="*/ 0 w 3115412"/>
              <a:gd name="connsiteY3" fmla="*/ 0 h 498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15412" h="4987832">
                <a:moveTo>
                  <a:pt x="3115412" y="0"/>
                </a:moveTo>
                <a:lnTo>
                  <a:pt x="2644559" y="4987832"/>
                </a:lnTo>
                <a:lnTo>
                  <a:pt x="0" y="4987832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997406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86E2E2E-C03C-BAE4-D818-84982363E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66">
            <a:extLst>
              <a:ext uri="{FF2B5EF4-FFF2-40B4-BE49-F238E27FC236}">
                <a16:creationId xmlns:a16="http://schemas.microsoft.com/office/drawing/2014/main" id="{897E5D5F-07B8-45D8-5BF7-ABED590AC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 b="0" i="0">
                <a:solidFill>
                  <a:schemeClr val="tx2"/>
                </a:solidFill>
                <a:latin typeface="ES Build Neutral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792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B65F72-82C4-0D49-112D-0341D1869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ACA5E8C-63C8-8AD4-F044-CD266DE5C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 anchor="t"/>
          <a:lstStyle>
            <a:lvl1pPr marL="0" indent="0" algn="l">
              <a:buNone/>
              <a:defRPr sz="2100">
                <a:solidFill>
                  <a:schemeClr val="tx1"/>
                </a:solidFill>
                <a:latin typeface="ES Build 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Footer Placeholder 66">
            <a:extLst>
              <a:ext uri="{FF2B5EF4-FFF2-40B4-BE49-F238E27FC236}">
                <a16:creationId xmlns:a16="http://schemas.microsoft.com/office/drawing/2014/main" id="{238F2EE7-08CB-24D4-C85D-6DF51A39EF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DD860FCA-A322-E028-A3B7-EEC65595DE3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11203413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01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C1EA9AC-4EB9-8C4D-288D-93333E5467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179" y="1032607"/>
            <a:ext cx="11194511" cy="338993"/>
          </a:xfrm>
        </p:spPr>
        <p:txBody>
          <a:bodyPr/>
          <a:lstStyle>
            <a:lvl1pPr marL="0" indent="0" algn="l">
              <a:buNone/>
              <a:defRPr sz="21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98C618-656B-ECF4-232F-0AE48390D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Footer Placeholder 66">
            <a:extLst>
              <a:ext uri="{FF2B5EF4-FFF2-40B4-BE49-F238E27FC236}">
                <a16:creationId xmlns:a16="http://schemas.microsoft.com/office/drawing/2014/main" id="{85449C12-712C-A478-9393-2CD1BCA568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B716F0E3-C015-48CC-3A2A-C9CE981112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5482055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E8098347-D218-E2F2-713C-BD22A68A58F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15064" y="1717247"/>
            <a:ext cx="5481626" cy="4449380"/>
          </a:xfrm>
        </p:spPr>
        <p:txBody>
          <a:bodyPr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6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customXml" Target="../ink/ink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4B3B3-230B-6CB2-B836-A5132C8620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288" y="1648925"/>
            <a:ext cx="11202987" cy="452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45D83A8-9E79-2C61-4D66-EF1466741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11202987" cy="6826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7" name="Footer Placeholder 66">
            <a:extLst>
              <a:ext uri="{FF2B5EF4-FFF2-40B4-BE49-F238E27FC236}">
                <a16:creationId xmlns:a16="http://schemas.microsoft.com/office/drawing/2014/main" id="{27DF4F35-707D-7AE3-40B3-DE4E98A3A0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88" y="6405456"/>
            <a:ext cx="9893725" cy="10772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A504D58-0E95-843B-D693-959DB54CB7A1}"/>
              </a:ext>
            </a:extLst>
          </p:cNvPr>
          <p:cNvSpPr txBox="1"/>
          <p:nvPr userDrawn="1"/>
        </p:nvSpPr>
        <p:spPr>
          <a:xfrm>
            <a:off x="493288" y="6562481"/>
            <a:ext cx="5029200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© 2024 Veeam Software. Confidential information. All rights reserved. All trademarks are the property of their respective owners. 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80">
            <p14:nvContentPartPr>
              <p14:cNvPr id="142" name="Ink 141">
                <a:extLst>
                  <a:ext uri="{FF2B5EF4-FFF2-40B4-BE49-F238E27FC236}">
                    <a16:creationId xmlns:a16="http://schemas.microsoft.com/office/drawing/2014/main" id="{199B0CB7-7F87-CA94-8B08-89B820EFB438}"/>
                  </a:ext>
                </a:extLst>
              </p14:cNvPr>
              <p14:cNvContentPartPr/>
              <p14:nvPr userDrawn="1"/>
            </p14:nvContentPartPr>
            <p14:xfrm>
              <a:off x="5523564" y="-1701176"/>
              <a:ext cx="360" cy="360"/>
            </p14:xfrm>
          </p:contentPart>
        </mc:Choice>
        <mc:Fallback xmlns="">
          <p:pic>
            <p:nvPicPr>
              <p:cNvPr id="142" name="Ink 141">
                <a:extLst>
                  <a:ext uri="{FF2B5EF4-FFF2-40B4-BE49-F238E27FC236}">
                    <a16:creationId xmlns:a16="http://schemas.microsoft.com/office/drawing/2014/main" id="{199B0CB7-7F87-CA94-8B08-89B820EFB438}"/>
                  </a:ext>
                </a:extLst>
              </p:cNvPr>
              <p:cNvPicPr/>
              <p:nvPr/>
            </p:nvPicPr>
            <p:blipFill>
              <a:blip r:embed="rId81"/>
              <a:stretch>
                <a:fillRect/>
              </a:stretch>
            </p:blipFill>
            <p:spPr>
              <a:xfrm>
                <a:off x="5514564" y="-1710176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190" name="Graphic 189">
            <a:extLst>
              <a:ext uri="{FF2B5EF4-FFF2-40B4-BE49-F238E27FC236}">
                <a16:creationId xmlns:a16="http://schemas.microsoft.com/office/drawing/2014/main" id="{0716F319-54B2-5DA9-B260-5E49AC90CE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3"/>
              </a:ext>
            </a:extLst>
          </a:blip>
          <a:srcRect/>
          <a:stretch/>
        </p:blipFill>
        <p:spPr>
          <a:xfrm>
            <a:off x="11180146" y="6513177"/>
            <a:ext cx="516553" cy="157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486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50" r:id="rId3"/>
    <p:sldLayoutId id="2147484155" r:id="rId4"/>
    <p:sldLayoutId id="2147484212" r:id="rId5"/>
    <p:sldLayoutId id="2147484251" r:id="rId6"/>
    <p:sldLayoutId id="2147484252" r:id="rId7"/>
    <p:sldLayoutId id="2147484208" r:id="rId8"/>
    <p:sldLayoutId id="2147484209" r:id="rId9"/>
    <p:sldLayoutId id="2147484210" r:id="rId10"/>
    <p:sldLayoutId id="2147484225" r:id="rId11"/>
    <p:sldLayoutId id="2147484229" r:id="rId12"/>
    <p:sldLayoutId id="2147484201" r:id="rId13"/>
    <p:sldLayoutId id="2147484228" r:id="rId14"/>
    <p:sldLayoutId id="2147484230" r:id="rId15"/>
    <p:sldLayoutId id="2147484172" r:id="rId16"/>
    <p:sldLayoutId id="2147484226" r:id="rId17"/>
    <p:sldLayoutId id="2147484227" r:id="rId18"/>
    <p:sldLayoutId id="2147484253" r:id="rId19"/>
    <p:sldLayoutId id="2147484254" r:id="rId20"/>
    <p:sldLayoutId id="2147484255" r:id="rId21"/>
    <p:sldLayoutId id="2147484157" r:id="rId22"/>
    <p:sldLayoutId id="2147484159" r:id="rId23"/>
    <p:sldLayoutId id="2147484160" r:id="rId24"/>
    <p:sldLayoutId id="2147484164" r:id="rId25"/>
    <p:sldLayoutId id="2147484240" r:id="rId26"/>
    <p:sldLayoutId id="2147484242" r:id="rId27"/>
    <p:sldLayoutId id="2147484267" r:id="rId28"/>
    <p:sldLayoutId id="2147484268" r:id="rId29"/>
    <p:sldLayoutId id="2147484269" r:id="rId30"/>
    <p:sldLayoutId id="2147484256" r:id="rId31"/>
    <p:sldLayoutId id="2147484257" r:id="rId32"/>
    <p:sldLayoutId id="2147484258" r:id="rId33"/>
    <p:sldLayoutId id="2147484259" r:id="rId34"/>
    <p:sldLayoutId id="2147484174" r:id="rId35"/>
    <p:sldLayoutId id="2147484232" r:id="rId36"/>
    <p:sldLayoutId id="2147484175" r:id="rId37"/>
    <p:sldLayoutId id="2147484233" r:id="rId38"/>
    <p:sldLayoutId id="2147484176" r:id="rId39"/>
    <p:sldLayoutId id="2147484234" r:id="rId40"/>
    <p:sldLayoutId id="2147484177" r:id="rId41"/>
    <p:sldLayoutId id="2147484235" r:id="rId42"/>
    <p:sldLayoutId id="2147484178" r:id="rId43"/>
    <p:sldLayoutId id="2147484236" r:id="rId44"/>
    <p:sldLayoutId id="2147484179" r:id="rId45"/>
    <p:sldLayoutId id="2147484237" r:id="rId46"/>
    <p:sldLayoutId id="2147484260" r:id="rId47"/>
    <p:sldLayoutId id="2147484261" r:id="rId48"/>
    <p:sldLayoutId id="2147484243" r:id="rId49"/>
    <p:sldLayoutId id="2147484244" r:id="rId50"/>
    <p:sldLayoutId id="2147484245" r:id="rId51"/>
    <p:sldLayoutId id="2147484246" r:id="rId52"/>
    <p:sldLayoutId id="2147484247" r:id="rId53"/>
    <p:sldLayoutId id="2147484248" r:id="rId54"/>
    <p:sldLayoutId id="2147484262" r:id="rId55"/>
    <p:sldLayoutId id="2147484182" r:id="rId56"/>
    <p:sldLayoutId id="2147484183" r:id="rId57"/>
    <p:sldLayoutId id="2147484184" r:id="rId58"/>
    <p:sldLayoutId id="2147484185" r:id="rId59"/>
    <p:sldLayoutId id="2147484186" r:id="rId60"/>
    <p:sldLayoutId id="2147484187" r:id="rId61"/>
    <p:sldLayoutId id="2147484264" r:id="rId62"/>
    <p:sldLayoutId id="2147484189" r:id="rId63"/>
    <p:sldLayoutId id="2147484190" r:id="rId64"/>
    <p:sldLayoutId id="2147484191" r:id="rId65"/>
    <p:sldLayoutId id="2147484192" r:id="rId66"/>
    <p:sldLayoutId id="2147484193" r:id="rId67"/>
    <p:sldLayoutId id="2147484194" r:id="rId68"/>
    <p:sldLayoutId id="2147484263" r:id="rId69"/>
    <p:sldLayoutId id="2147484202" r:id="rId70"/>
    <p:sldLayoutId id="2147484215" r:id="rId71"/>
    <p:sldLayoutId id="2147484219" r:id="rId72"/>
    <p:sldLayoutId id="2147484220" r:id="rId73"/>
    <p:sldLayoutId id="2147484221" r:id="rId74"/>
    <p:sldLayoutId id="2147484270" r:id="rId75"/>
    <p:sldLayoutId id="2147484204" r:id="rId76"/>
    <p:sldLayoutId id="2147484271" r:id="rId77"/>
    <p:sldLayoutId id="2147484272" r:id="rId7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>
          <a:solidFill>
            <a:schemeClr val="tx1"/>
          </a:solidFill>
          <a:latin typeface="ES Build" pitchFamily="2" charset="77"/>
          <a:ea typeface="ES Build" pitchFamily="2" charset="77"/>
          <a:cs typeface="+mj-cs"/>
        </a:defRPr>
      </a:lvl1pPr>
    </p:titleStyle>
    <p:bodyStyle>
      <a:lvl1pPr marL="0" indent="0" algn="l" defTabSz="914400" rtl="0" eaLnBrk="1" latinLnBrk="0" hangingPunct="1">
        <a:lnSpc>
          <a:spcPct val="96000"/>
        </a:lnSpc>
        <a:spcBef>
          <a:spcPts val="1200"/>
        </a:spcBef>
        <a:spcAft>
          <a:spcPts val="600"/>
        </a:spcAft>
        <a:buClrTx/>
        <a:buFont typeface="Calibri" panose="020F0502020204030204" pitchFamily="34" charset="0"/>
        <a:buChar char="​"/>
        <a:tabLst/>
        <a:defRPr sz="21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1pPr>
      <a:lvl2pPr marL="173736" indent="-173736" algn="l" defTabSz="914400" rtl="0" eaLnBrk="1" latinLnBrk="0" hangingPunct="1">
        <a:lnSpc>
          <a:spcPct val="96000"/>
        </a:lnSpc>
        <a:spcBef>
          <a:spcPts val="300"/>
        </a:spcBef>
        <a:spcAft>
          <a:spcPts val="150"/>
        </a:spcAft>
        <a:buClrTx/>
        <a:buFont typeface="Arial" panose="020B0604020202020204" pitchFamily="34" charset="0"/>
        <a:buChar char="•"/>
        <a:tabLst/>
        <a:defRPr sz="21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2pPr>
      <a:lvl3pPr marL="342900" indent="-171450" algn="l" defTabSz="914400" rtl="0" eaLnBrk="1" latinLnBrk="0" hangingPunct="1">
        <a:lnSpc>
          <a:spcPct val="96000"/>
        </a:lnSpc>
        <a:spcBef>
          <a:spcPts val="300"/>
        </a:spcBef>
        <a:spcAft>
          <a:spcPts val="150"/>
        </a:spcAft>
        <a:buClrTx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3pPr>
      <a:lvl4pPr marL="576072" indent="-173736" algn="l" defTabSz="914400" rtl="0" eaLnBrk="1" latinLnBrk="0" hangingPunct="1">
        <a:lnSpc>
          <a:spcPct val="96000"/>
        </a:lnSpc>
        <a:spcBef>
          <a:spcPts val="300"/>
        </a:spcBef>
        <a:spcAft>
          <a:spcPts val="150"/>
        </a:spcAft>
        <a:buClrTx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4pPr>
      <a:lvl5pPr marL="731520" indent="-173736" algn="l" defTabSz="914400" rtl="0" eaLnBrk="1" latinLnBrk="0" hangingPunct="1">
        <a:lnSpc>
          <a:spcPct val="96000"/>
        </a:lnSpc>
        <a:spcBef>
          <a:spcPts val="300"/>
        </a:spcBef>
        <a:spcAft>
          <a:spcPts val="150"/>
        </a:spcAft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5pPr>
      <a:lvl6pPr marL="11113" indent="0" algn="l" defTabSz="914400" rtl="0" eaLnBrk="1" latinLnBrk="0" hangingPunct="1">
        <a:lnSpc>
          <a:spcPct val="96000"/>
        </a:lnSpc>
        <a:spcBef>
          <a:spcPts val="600"/>
        </a:spcBef>
        <a:spcAft>
          <a:spcPts val="300"/>
        </a:spcAft>
        <a:buFont typeface="System Font Regular"/>
        <a:buChar char="​"/>
        <a:tabLst/>
        <a:defRPr sz="16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6pPr>
      <a:lvl7pPr marL="11113" indent="0" algn="l" defTabSz="914400" rtl="0" eaLnBrk="1" latinLnBrk="0" hangingPunct="1">
        <a:lnSpc>
          <a:spcPct val="96000"/>
        </a:lnSpc>
        <a:spcBef>
          <a:spcPts val="600"/>
        </a:spcBef>
        <a:spcAft>
          <a:spcPts val="300"/>
        </a:spcAft>
        <a:buFont typeface="System Font Regular"/>
        <a:buChar char="​"/>
        <a:tabLst/>
        <a:defRPr sz="1600" b="0" i="0" kern="1200">
          <a:solidFill>
            <a:schemeClr val="tx1"/>
          </a:solidFill>
          <a:latin typeface="ES Build Neutral" pitchFamily="2" charset="77"/>
          <a:ea typeface="ES Build Neutral" pitchFamily="2" charset="77"/>
          <a:cs typeface="+mn-cs"/>
        </a:defRPr>
      </a:lvl7pPr>
      <a:lvl8pPr marL="0" indent="0" algn="l" defTabSz="914400" rtl="0" eaLnBrk="1" latinLnBrk="0" hangingPunct="1">
        <a:lnSpc>
          <a:spcPct val="84000"/>
        </a:lnSpc>
        <a:spcBef>
          <a:spcPts val="300"/>
        </a:spcBef>
        <a:buFont typeface="System Font Regular"/>
        <a:buChar char="​"/>
        <a:tabLst/>
        <a:defRPr sz="5500" b="0" i="0" kern="1200" spc="-150" baseline="0">
          <a:solidFill>
            <a:srgbClr val="8E71F4"/>
          </a:solidFill>
          <a:latin typeface="ES Build Neutral" pitchFamily="2" charset="77"/>
          <a:ea typeface="ES Build Neutral" pitchFamily="2" charset="77"/>
          <a:cs typeface="+mn-cs"/>
        </a:defRPr>
      </a:lvl8pPr>
      <a:lvl9pPr marL="11113" indent="0" algn="l" defTabSz="914400" rtl="0" eaLnBrk="1" latinLnBrk="0" hangingPunct="1">
        <a:lnSpc>
          <a:spcPct val="84000"/>
        </a:lnSpc>
        <a:spcBef>
          <a:spcPts val="0"/>
        </a:spcBef>
        <a:buFont typeface="System Font Regular"/>
        <a:buChar char="​"/>
        <a:tabLst/>
        <a:defRPr sz="11000" b="0" i="0" kern="1200" spc="-300">
          <a:solidFill>
            <a:srgbClr val="8E71F4"/>
          </a:solidFill>
          <a:latin typeface="ES Build Neutral" pitchFamily="2" charset="77"/>
          <a:ea typeface="ES Build Neutral" pitchFamily="2" charset="77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2" userDrawn="1">
          <p15:clr>
            <a:srgbClr val="F26B43"/>
          </p15:clr>
        </p15:guide>
        <p15:guide id="2" userDrawn="1">
          <p15:clr>
            <a:srgbClr val="F26B43"/>
          </p15:clr>
        </p15:guide>
        <p15:guide id="3" pos="7679" userDrawn="1">
          <p15:clr>
            <a:srgbClr val="F26B43"/>
          </p15:clr>
        </p15:guide>
        <p15:guide id="4" orient="horz" pos="1078" userDrawn="1">
          <p15:clr>
            <a:srgbClr val="F26B43"/>
          </p15:clr>
        </p15:guide>
        <p15:guide id="5" orient="horz" pos="646" userDrawn="1">
          <p15:clr>
            <a:srgbClr val="F26B43"/>
          </p15:clr>
        </p15:guide>
        <p15:guide id="6" orient="horz" pos="430" userDrawn="1">
          <p15:clr>
            <a:srgbClr val="F26B43"/>
          </p15:clr>
        </p15:guide>
        <p15:guide id="7" orient="horz" pos="214" userDrawn="1">
          <p15:clr>
            <a:srgbClr val="F26B43"/>
          </p15:clr>
        </p15:guide>
        <p15:guide id="8" orient="horz" pos="1942" userDrawn="1">
          <p15:clr>
            <a:srgbClr val="F26B43"/>
          </p15:clr>
        </p15:guide>
        <p15:guide id="9" orient="horz" pos="2158" userDrawn="1">
          <p15:clr>
            <a:srgbClr val="F26B43"/>
          </p15:clr>
        </p15:guide>
        <p15:guide id="10" orient="horz" pos="1726" userDrawn="1">
          <p15:clr>
            <a:srgbClr val="F26B43"/>
          </p15:clr>
        </p15:guide>
        <p15:guide id="11" orient="horz" pos="1510" userDrawn="1">
          <p15:clr>
            <a:srgbClr val="F26B43"/>
          </p15:clr>
        </p15:guide>
        <p15:guide id="12" orient="horz" pos="3022" userDrawn="1">
          <p15:clr>
            <a:srgbClr val="F26B43"/>
          </p15:clr>
        </p15:guide>
        <p15:guide id="13" orient="horz" pos="3238" userDrawn="1">
          <p15:clr>
            <a:srgbClr val="F26B43"/>
          </p15:clr>
        </p15:guide>
        <p15:guide id="14" orient="horz" pos="2806" userDrawn="1">
          <p15:clr>
            <a:srgbClr val="F26B43"/>
          </p15:clr>
        </p15:guide>
        <p15:guide id="15" orient="horz" pos="2590" userDrawn="1">
          <p15:clr>
            <a:srgbClr val="F26B43"/>
          </p15:clr>
        </p15:guide>
        <p15:guide id="16" orient="horz" pos="2374" userDrawn="1">
          <p15:clr>
            <a:srgbClr val="F26B43"/>
          </p15:clr>
        </p15:guide>
        <p15:guide id="17" orient="horz" pos="4102" userDrawn="1">
          <p15:clr>
            <a:srgbClr val="F26B43"/>
          </p15:clr>
        </p15:guide>
        <p15:guide id="18" orient="horz" pos="4318" userDrawn="1">
          <p15:clr>
            <a:srgbClr val="F26B43"/>
          </p15:clr>
        </p15:guide>
        <p15:guide id="19" orient="horz" pos="3886" userDrawn="1">
          <p15:clr>
            <a:srgbClr val="F26B43"/>
          </p15:clr>
        </p15:guide>
        <p15:guide id="20" orient="horz" pos="3670" userDrawn="1">
          <p15:clr>
            <a:srgbClr val="F26B43"/>
          </p15:clr>
        </p15:guide>
        <p15:guide id="21" orient="horz" pos="3454" userDrawn="1">
          <p15:clr>
            <a:srgbClr val="F26B43"/>
          </p15:clr>
        </p15:guide>
        <p15:guide id="22" orient="horz" pos="286" userDrawn="1">
          <p15:clr>
            <a:srgbClr val="F26B43"/>
          </p15:clr>
        </p15:guide>
        <p15:guide id="23" orient="horz" pos="4030" userDrawn="1">
          <p15:clr>
            <a:srgbClr val="F26B43"/>
          </p15:clr>
        </p15:guide>
        <p15:guide id="24" pos="6919" userDrawn="1">
          <p15:clr>
            <a:srgbClr val="F26B43"/>
          </p15:clr>
        </p15:guide>
        <p15:guide id="25" pos="7368" userDrawn="1">
          <p15:clr>
            <a:srgbClr val="F26B43"/>
          </p15:clr>
        </p15:guide>
        <p15:guide id="26" pos="311" userDrawn="1">
          <p15:clr>
            <a:srgbClr val="F26B43"/>
          </p15:clr>
        </p15:guide>
        <p15:guide id="27" pos="760" userDrawn="1">
          <p15:clr>
            <a:srgbClr val="F26B43"/>
          </p15:clr>
        </p15:guide>
        <p15:guide id="28" pos="911" userDrawn="1">
          <p15:clr>
            <a:srgbClr val="F26B43"/>
          </p15:clr>
        </p15:guide>
        <p15:guide id="29" pos="1361" userDrawn="1">
          <p15:clr>
            <a:srgbClr val="F26B43"/>
          </p15:clr>
        </p15:guide>
        <p15:guide id="30" pos="1512" userDrawn="1">
          <p15:clr>
            <a:srgbClr val="F26B43"/>
          </p15:clr>
        </p15:guide>
        <p15:guide id="31" pos="1961" userDrawn="1">
          <p15:clr>
            <a:srgbClr val="F26B43"/>
          </p15:clr>
        </p15:guide>
        <p15:guide id="32" pos="2113" userDrawn="1">
          <p15:clr>
            <a:srgbClr val="F26B43"/>
          </p15:clr>
        </p15:guide>
        <p15:guide id="33" pos="2562" userDrawn="1">
          <p15:clr>
            <a:srgbClr val="F26B43"/>
          </p15:clr>
        </p15:guide>
        <p15:guide id="34" pos="2714" userDrawn="1">
          <p15:clr>
            <a:srgbClr val="F26B43"/>
          </p15:clr>
        </p15:guide>
        <p15:guide id="35" pos="3163" userDrawn="1">
          <p15:clr>
            <a:srgbClr val="F26B43"/>
          </p15:clr>
        </p15:guide>
        <p15:guide id="36" pos="3314" userDrawn="1">
          <p15:clr>
            <a:srgbClr val="F26B43"/>
          </p15:clr>
        </p15:guide>
        <p15:guide id="37" pos="3764" userDrawn="1">
          <p15:clr>
            <a:srgbClr val="F26B43"/>
          </p15:clr>
        </p15:guide>
        <p15:guide id="38" pos="3915" userDrawn="1">
          <p15:clr>
            <a:srgbClr val="F26B43"/>
          </p15:clr>
        </p15:guide>
        <p15:guide id="39" pos="4365" userDrawn="1">
          <p15:clr>
            <a:srgbClr val="F26B43"/>
          </p15:clr>
        </p15:guide>
        <p15:guide id="40" pos="4516" userDrawn="1">
          <p15:clr>
            <a:srgbClr val="F26B43"/>
          </p15:clr>
        </p15:guide>
        <p15:guide id="41" pos="4965" userDrawn="1">
          <p15:clr>
            <a:srgbClr val="F26B43"/>
          </p15:clr>
        </p15:guide>
        <p15:guide id="42" pos="5117" userDrawn="1">
          <p15:clr>
            <a:srgbClr val="F26B43"/>
          </p15:clr>
        </p15:guide>
        <p15:guide id="43" pos="5566" userDrawn="1">
          <p15:clr>
            <a:srgbClr val="F26B43"/>
          </p15:clr>
        </p15:guide>
        <p15:guide id="44" pos="5718" userDrawn="1">
          <p15:clr>
            <a:srgbClr val="F26B43"/>
          </p15:clr>
        </p15:guide>
        <p15:guide id="45" pos="6167" userDrawn="1">
          <p15:clr>
            <a:srgbClr val="F26B43"/>
          </p15:clr>
        </p15:guide>
        <p15:guide id="46" pos="6318" userDrawn="1">
          <p15:clr>
            <a:srgbClr val="F26B43"/>
          </p15:clr>
        </p15:guide>
        <p15:guide id="47" pos="6768" userDrawn="1">
          <p15:clr>
            <a:srgbClr val="F26B43"/>
          </p15:clr>
        </p15:guide>
        <p15:guide id="48" orient="horz" pos="1" userDrawn="1">
          <p15:clr>
            <a:srgbClr val="F26B43"/>
          </p15:clr>
        </p15:guide>
        <p15:guide id="49" pos="7144" userDrawn="1">
          <p15:clr>
            <a:srgbClr val="F26B43"/>
          </p15:clr>
        </p15:guide>
        <p15:guide id="50" pos="535" userDrawn="1">
          <p15:clr>
            <a:srgbClr val="F26B43"/>
          </p15:clr>
        </p15:guide>
        <p15:guide id="51" pos="1136" userDrawn="1">
          <p15:clr>
            <a:srgbClr val="F26B43"/>
          </p15:clr>
        </p15:guide>
        <p15:guide id="52" pos="1737" userDrawn="1">
          <p15:clr>
            <a:srgbClr val="F26B43"/>
          </p15:clr>
        </p15:guide>
        <p15:guide id="53" pos="2338" userDrawn="1">
          <p15:clr>
            <a:srgbClr val="F26B43"/>
          </p15:clr>
        </p15:guide>
        <p15:guide id="54" pos="2938" userDrawn="1">
          <p15:clr>
            <a:srgbClr val="F26B43"/>
          </p15:clr>
        </p15:guide>
        <p15:guide id="55" pos="3539" userDrawn="1">
          <p15:clr>
            <a:srgbClr val="F26B43"/>
          </p15:clr>
        </p15:guide>
        <p15:guide id="56" pos="4140" userDrawn="1">
          <p15:clr>
            <a:srgbClr val="F26B43"/>
          </p15:clr>
        </p15:guide>
        <p15:guide id="57" pos="4741" userDrawn="1">
          <p15:clr>
            <a:srgbClr val="F26B43"/>
          </p15:clr>
        </p15:guide>
        <p15:guide id="58" pos="5341" userDrawn="1">
          <p15:clr>
            <a:srgbClr val="F26B43"/>
          </p15:clr>
        </p15:guide>
        <p15:guide id="59" pos="5942" userDrawn="1">
          <p15:clr>
            <a:srgbClr val="F26B43"/>
          </p15:clr>
        </p15:guide>
        <p15:guide id="60" pos="6543" userDrawn="1">
          <p15:clr>
            <a:srgbClr val="F26B43"/>
          </p15:clr>
        </p15:guide>
        <p15:guide id="61" orient="horz" pos="1294" userDrawn="1">
          <p15:clr>
            <a:srgbClr val="F26B43"/>
          </p15:clr>
        </p15:guide>
        <p15:guide id="62" pos="767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0.png"/><Relationship Id="rId18" Type="http://schemas.openxmlformats.org/officeDocument/2006/relationships/image" Target="../media/image105.svg"/><Relationship Id="rId26" Type="http://schemas.openxmlformats.org/officeDocument/2006/relationships/image" Target="../media/image87.svg"/><Relationship Id="rId39" Type="http://schemas.openxmlformats.org/officeDocument/2006/relationships/image" Target="../media/image120.png"/><Relationship Id="rId21" Type="http://schemas.openxmlformats.org/officeDocument/2006/relationships/image" Target="../media/image108.png"/><Relationship Id="rId34" Type="http://schemas.openxmlformats.org/officeDocument/2006/relationships/image" Target="../media/image117.svg"/><Relationship Id="rId42" Type="http://schemas.openxmlformats.org/officeDocument/2006/relationships/image" Target="../media/image123.sv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03.svg"/><Relationship Id="rId20" Type="http://schemas.openxmlformats.org/officeDocument/2006/relationships/image" Target="../media/image107.svg"/><Relationship Id="rId29" Type="http://schemas.openxmlformats.org/officeDocument/2006/relationships/image" Target="../media/image88.png"/><Relationship Id="rId41" Type="http://schemas.openxmlformats.org/officeDocument/2006/relationships/image" Target="../media/image122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3.svg"/><Relationship Id="rId11" Type="http://schemas.openxmlformats.org/officeDocument/2006/relationships/image" Target="../media/image98.png"/><Relationship Id="rId24" Type="http://schemas.openxmlformats.org/officeDocument/2006/relationships/image" Target="../media/image111.svg"/><Relationship Id="rId32" Type="http://schemas.openxmlformats.org/officeDocument/2006/relationships/image" Target="../media/image115.svg"/><Relationship Id="rId37" Type="http://schemas.openxmlformats.org/officeDocument/2006/relationships/image" Target="../media/image84.png"/><Relationship Id="rId40" Type="http://schemas.openxmlformats.org/officeDocument/2006/relationships/image" Target="../media/image121.svg"/><Relationship Id="rId5" Type="http://schemas.openxmlformats.org/officeDocument/2006/relationships/image" Target="../media/image92.png"/><Relationship Id="rId15" Type="http://schemas.openxmlformats.org/officeDocument/2006/relationships/image" Target="../media/image102.png"/><Relationship Id="rId23" Type="http://schemas.openxmlformats.org/officeDocument/2006/relationships/image" Target="../media/image110.png"/><Relationship Id="rId28" Type="http://schemas.openxmlformats.org/officeDocument/2006/relationships/image" Target="../media/image113.svg"/><Relationship Id="rId36" Type="http://schemas.openxmlformats.org/officeDocument/2006/relationships/image" Target="../media/image119.svg"/><Relationship Id="rId10" Type="http://schemas.openxmlformats.org/officeDocument/2006/relationships/image" Target="../media/image97.svg"/><Relationship Id="rId19" Type="http://schemas.openxmlformats.org/officeDocument/2006/relationships/image" Target="../media/image106.png"/><Relationship Id="rId31" Type="http://schemas.openxmlformats.org/officeDocument/2006/relationships/image" Target="../media/image114.png"/><Relationship Id="rId4" Type="http://schemas.openxmlformats.org/officeDocument/2006/relationships/image" Target="../media/image91.svg"/><Relationship Id="rId9" Type="http://schemas.openxmlformats.org/officeDocument/2006/relationships/image" Target="../media/image96.png"/><Relationship Id="rId14" Type="http://schemas.openxmlformats.org/officeDocument/2006/relationships/image" Target="../media/image101.svg"/><Relationship Id="rId22" Type="http://schemas.openxmlformats.org/officeDocument/2006/relationships/image" Target="../media/image109.svg"/><Relationship Id="rId27" Type="http://schemas.openxmlformats.org/officeDocument/2006/relationships/image" Target="../media/image112.png"/><Relationship Id="rId30" Type="http://schemas.openxmlformats.org/officeDocument/2006/relationships/image" Target="../media/image89.svg"/><Relationship Id="rId35" Type="http://schemas.openxmlformats.org/officeDocument/2006/relationships/image" Target="../media/image118.png"/><Relationship Id="rId8" Type="http://schemas.openxmlformats.org/officeDocument/2006/relationships/image" Target="../media/image95.svg"/><Relationship Id="rId3" Type="http://schemas.openxmlformats.org/officeDocument/2006/relationships/image" Target="../media/image90.png"/><Relationship Id="rId12" Type="http://schemas.openxmlformats.org/officeDocument/2006/relationships/image" Target="../media/image99.svg"/><Relationship Id="rId17" Type="http://schemas.openxmlformats.org/officeDocument/2006/relationships/image" Target="../media/image104.png"/><Relationship Id="rId25" Type="http://schemas.openxmlformats.org/officeDocument/2006/relationships/image" Target="../media/image86.png"/><Relationship Id="rId33" Type="http://schemas.openxmlformats.org/officeDocument/2006/relationships/image" Target="../media/image116.png"/><Relationship Id="rId38" Type="http://schemas.openxmlformats.org/officeDocument/2006/relationships/image" Target="../media/image85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39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svg"/><Relationship Id="rId13" Type="http://schemas.openxmlformats.org/officeDocument/2006/relationships/image" Target="../media/image134.png"/><Relationship Id="rId18" Type="http://schemas.openxmlformats.org/officeDocument/2006/relationships/image" Target="../media/image138.svg"/><Relationship Id="rId3" Type="http://schemas.openxmlformats.org/officeDocument/2006/relationships/image" Target="../media/image39.png"/><Relationship Id="rId7" Type="http://schemas.openxmlformats.org/officeDocument/2006/relationships/image" Target="../media/image128.png"/><Relationship Id="rId12" Type="http://schemas.openxmlformats.org/officeDocument/2006/relationships/image" Target="../media/image133.svg"/><Relationship Id="rId17" Type="http://schemas.openxmlformats.org/officeDocument/2006/relationships/image" Target="../media/image13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0.svg"/><Relationship Id="rId20" Type="http://schemas.openxmlformats.org/officeDocument/2006/relationships/image" Target="../media/image140.sv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127.svg"/><Relationship Id="rId11" Type="http://schemas.openxmlformats.org/officeDocument/2006/relationships/image" Target="../media/image132.png"/><Relationship Id="rId5" Type="http://schemas.openxmlformats.org/officeDocument/2006/relationships/image" Target="../media/image126.png"/><Relationship Id="rId15" Type="http://schemas.openxmlformats.org/officeDocument/2006/relationships/image" Target="../media/image136.png"/><Relationship Id="rId10" Type="http://schemas.openxmlformats.org/officeDocument/2006/relationships/image" Target="../media/image131.svg"/><Relationship Id="rId19" Type="http://schemas.openxmlformats.org/officeDocument/2006/relationships/image" Target="../media/image139.png"/><Relationship Id="rId4" Type="http://schemas.openxmlformats.org/officeDocument/2006/relationships/image" Target="../media/image125.svg"/><Relationship Id="rId9" Type="http://schemas.openxmlformats.org/officeDocument/2006/relationships/image" Target="../media/image130.png"/><Relationship Id="rId14" Type="http://schemas.openxmlformats.org/officeDocument/2006/relationships/image" Target="../media/image135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sv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7.svg"/><Relationship Id="rId4" Type="http://schemas.openxmlformats.org/officeDocument/2006/relationships/image" Target="../media/image14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svg"/><Relationship Id="rId3" Type="http://schemas.openxmlformats.org/officeDocument/2006/relationships/image" Target="../media/image153.png"/><Relationship Id="rId7" Type="http://schemas.openxmlformats.org/officeDocument/2006/relationships/image" Target="../media/image157.png"/><Relationship Id="rId12" Type="http://schemas.openxmlformats.org/officeDocument/2006/relationships/image" Target="../media/image129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6.svg"/><Relationship Id="rId11" Type="http://schemas.openxmlformats.org/officeDocument/2006/relationships/image" Target="../media/image128.png"/><Relationship Id="rId5" Type="http://schemas.openxmlformats.org/officeDocument/2006/relationships/image" Target="../media/image155.png"/><Relationship Id="rId10" Type="http://schemas.openxmlformats.org/officeDocument/2006/relationships/image" Target="../media/image160.svg"/><Relationship Id="rId4" Type="http://schemas.openxmlformats.org/officeDocument/2006/relationships/image" Target="../media/image154.svg"/><Relationship Id="rId9" Type="http://schemas.openxmlformats.org/officeDocument/2006/relationships/image" Target="../media/image15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svg"/><Relationship Id="rId13" Type="http://schemas.openxmlformats.org/officeDocument/2006/relationships/image" Target="../media/image171.png"/><Relationship Id="rId18" Type="http://schemas.openxmlformats.org/officeDocument/2006/relationships/image" Target="../media/image176.svg"/><Relationship Id="rId3" Type="http://schemas.openxmlformats.org/officeDocument/2006/relationships/image" Target="../media/image161.png"/><Relationship Id="rId21" Type="http://schemas.openxmlformats.org/officeDocument/2006/relationships/image" Target="../media/image179.png"/><Relationship Id="rId7" Type="http://schemas.openxmlformats.org/officeDocument/2006/relationships/image" Target="../media/image165.png"/><Relationship Id="rId12" Type="http://schemas.openxmlformats.org/officeDocument/2006/relationships/image" Target="../media/image170.svg"/><Relationship Id="rId17" Type="http://schemas.openxmlformats.org/officeDocument/2006/relationships/image" Target="../media/image175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74.svg"/><Relationship Id="rId20" Type="http://schemas.openxmlformats.org/officeDocument/2006/relationships/image" Target="../media/image178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4.svg"/><Relationship Id="rId11" Type="http://schemas.openxmlformats.org/officeDocument/2006/relationships/image" Target="../media/image169.png"/><Relationship Id="rId5" Type="http://schemas.openxmlformats.org/officeDocument/2006/relationships/image" Target="../media/image163.png"/><Relationship Id="rId15" Type="http://schemas.openxmlformats.org/officeDocument/2006/relationships/image" Target="../media/image173.png"/><Relationship Id="rId10" Type="http://schemas.openxmlformats.org/officeDocument/2006/relationships/image" Target="../media/image168.svg"/><Relationship Id="rId19" Type="http://schemas.openxmlformats.org/officeDocument/2006/relationships/image" Target="../media/image177.png"/><Relationship Id="rId4" Type="http://schemas.openxmlformats.org/officeDocument/2006/relationships/image" Target="../media/image162.svg"/><Relationship Id="rId9" Type="http://schemas.openxmlformats.org/officeDocument/2006/relationships/image" Target="../media/image167.png"/><Relationship Id="rId14" Type="http://schemas.openxmlformats.org/officeDocument/2006/relationships/image" Target="../media/image172.svg"/><Relationship Id="rId22" Type="http://schemas.openxmlformats.org/officeDocument/2006/relationships/image" Target="../media/image180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svg"/><Relationship Id="rId13" Type="http://schemas.openxmlformats.org/officeDocument/2006/relationships/image" Target="../media/image169.png"/><Relationship Id="rId18" Type="http://schemas.openxmlformats.org/officeDocument/2006/relationships/image" Target="../media/image186.svg"/><Relationship Id="rId3" Type="http://schemas.openxmlformats.org/officeDocument/2006/relationships/image" Target="../media/image181.png"/><Relationship Id="rId21" Type="http://schemas.openxmlformats.org/officeDocument/2006/relationships/image" Target="../media/image187.png"/><Relationship Id="rId7" Type="http://schemas.openxmlformats.org/officeDocument/2006/relationships/image" Target="../media/image163.png"/><Relationship Id="rId12" Type="http://schemas.openxmlformats.org/officeDocument/2006/relationships/image" Target="../media/image168.svg"/><Relationship Id="rId17" Type="http://schemas.openxmlformats.org/officeDocument/2006/relationships/image" Target="../media/image185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84.svg"/><Relationship Id="rId20" Type="http://schemas.openxmlformats.org/officeDocument/2006/relationships/image" Target="../media/image172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2.svg"/><Relationship Id="rId11" Type="http://schemas.openxmlformats.org/officeDocument/2006/relationships/image" Target="../media/image167.png"/><Relationship Id="rId24" Type="http://schemas.openxmlformats.org/officeDocument/2006/relationships/image" Target="../media/image190.svg"/><Relationship Id="rId5" Type="http://schemas.openxmlformats.org/officeDocument/2006/relationships/image" Target="../media/image161.png"/><Relationship Id="rId15" Type="http://schemas.openxmlformats.org/officeDocument/2006/relationships/image" Target="../media/image183.png"/><Relationship Id="rId23" Type="http://schemas.openxmlformats.org/officeDocument/2006/relationships/image" Target="../media/image189.png"/><Relationship Id="rId10" Type="http://schemas.openxmlformats.org/officeDocument/2006/relationships/image" Target="../media/image166.svg"/><Relationship Id="rId19" Type="http://schemas.openxmlformats.org/officeDocument/2006/relationships/image" Target="../media/image171.png"/><Relationship Id="rId4" Type="http://schemas.openxmlformats.org/officeDocument/2006/relationships/image" Target="../media/image182.svg"/><Relationship Id="rId9" Type="http://schemas.openxmlformats.org/officeDocument/2006/relationships/image" Target="../media/image165.png"/><Relationship Id="rId14" Type="http://schemas.openxmlformats.org/officeDocument/2006/relationships/image" Target="../media/image170.svg"/><Relationship Id="rId22" Type="http://schemas.openxmlformats.org/officeDocument/2006/relationships/image" Target="../media/image188.sv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svg"/><Relationship Id="rId7" Type="http://schemas.openxmlformats.org/officeDocument/2006/relationships/image" Target="../media/image48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Relationship Id="rId9" Type="http://schemas.openxmlformats.org/officeDocument/2006/relationships/image" Target="../media/image4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13" Type="http://schemas.openxmlformats.org/officeDocument/2006/relationships/image" Target="../media/image61.png"/><Relationship Id="rId18" Type="http://schemas.openxmlformats.org/officeDocument/2006/relationships/image" Target="../media/image66.svg"/><Relationship Id="rId26" Type="http://schemas.openxmlformats.org/officeDocument/2006/relationships/image" Target="../media/image74.svg"/><Relationship Id="rId3" Type="http://schemas.openxmlformats.org/officeDocument/2006/relationships/image" Target="../media/image51.png"/><Relationship Id="rId21" Type="http://schemas.openxmlformats.org/officeDocument/2006/relationships/image" Target="../media/image69.png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17" Type="http://schemas.openxmlformats.org/officeDocument/2006/relationships/image" Target="../media/image65.png"/><Relationship Id="rId25" Type="http://schemas.openxmlformats.org/officeDocument/2006/relationships/image" Target="../media/image7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64.svg"/><Relationship Id="rId20" Type="http://schemas.openxmlformats.org/officeDocument/2006/relationships/image" Target="../media/image68.svg"/><Relationship Id="rId29" Type="http://schemas.openxmlformats.org/officeDocument/2006/relationships/image" Target="../media/image7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4.svg"/><Relationship Id="rId11" Type="http://schemas.openxmlformats.org/officeDocument/2006/relationships/image" Target="../media/image59.png"/><Relationship Id="rId24" Type="http://schemas.openxmlformats.org/officeDocument/2006/relationships/image" Target="../media/image72.svg"/><Relationship Id="rId32" Type="http://schemas.openxmlformats.org/officeDocument/2006/relationships/image" Target="../media/image80.sv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23" Type="http://schemas.openxmlformats.org/officeDocument/2006/relationships/image" Target="../media/image71.png"/><Relationship Id="rId28" Type="http://schemas.openxmlformats.org/officeDocument/2006/relationships/image" Target="../media/image76.svg"/><Relationship Id="rId10" Type="http://schemas.openxmlformats.org/officeDocument/2006/relationships/image" Target="../media/image58.svg"/><Relationship Id="rId19" Type="http://schemas.openxmlformats.org/officeDocument/2006/relationships/image" Target="../media/image67.png"/><Relationship Id="rId31" Type="http://schemas.openxmlformats.org/officeDocument/2006/relationships/image" Target="../media/image79.png"/><Relationship Id="rId4" Type="http://schemas.openxmlformats.org/officeDocument/2006/relationships/image" Target="../media/image52.svg"/><Relationship Id="rId9" Type="http://schemas.openxmlformats.org/officeDocument/2006/relationships/image" Target="../media/image57.png"/><Relationship Id="rId14" Type="http://schemas.openxmlformats.org/officeDocument/2006/relationships/image" Target="../media/image62.svg"/><Relationship Id="rId22" Type="http://schemas.openxmlformats.org/officeDocument/2006/relationships/image" Target="../media/image70.svg"/><Relationship Id="rId27" Type="http://schemas.openxmlformats.org/officeDocument/2006/relationships/image" Target="../media/image75.png"/><Relationship Id="rId30" Type="http://schemas.openxmlformats.org/officeDocument/2006/relationships/image" Target="../media/image78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D2A4C-ECBA-A9A7-0C89-44F654F8282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de-DE" sz="6000" dirty="0"/>
              <a:t>Sicherer Hypervisor-Wechsel </a:t>
            </a:r>
            <a:br>
              <a:rPr lang="de-DE" sz="6000" dirty="0"/>
            </a:br>
            <a:r>
              <a:rPr lang="de-DE" sz="6000" dirty="0"/>
              <a:t>mit Backup-Lösungen</a:t>
            </a:r>
            <a:br>
              <a:rPr lang="de-DE" sz="6000" dirty="0"/>
            </a:br>
            <a:r>
              <a:rPr lang="de-DE" sz="6000" dirty="0"/>
              <a:t>von Vee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C9406A-24BB-0BE2-76DA-CAE1DC2D31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400" dirty="0"/>
              <a:t>Multi-Plattform Backup &amp; DR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2E295D-499A-6AF6-FE46-797C31CEF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17.04.2024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D950F-9101-97CC-06A6-02B0C7462F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6884" y="5193368"/>
            <a:ext cx="2893401" cy="271589"/>
          </a:xfrm>
        </p:spPr>
        <p:txBody>
          <a:bodyPr/>
          <a:lstStyle/>
          <a:p>
            <a:r>
              <a:rPr lang="de-DE" dirty="0"/>
              <a:t>Maximilian Maier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S Build Neutral"/>
                <a:ea typeface="Tahoma"/>
                <a:cs typeface="Segoe UI"/>
              </a:rPr>
              <a:t>Systems Engineer</a:t>
            </a:r>
          </a:p>
          <a:p>
            <a:pPr marL="0" marR="0" lvl="0" indent="0" algn="l" defTabSz="6858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S Build Neutral"/>
              <a:ea typeface="ES Build Neutral" pitchFamily="2" charset="77"/>
              <a:cs typeface="+mn-cs"/>
            </a:endParaRPr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Bildplatzhalter 20" descr="Ein Bild, das Menschliches Gesicht, Person, Vorderkopf, Selfie enthält.&#10;&#10;Automatisch generierte Beschreibung">
            <a:extLst>
              <a:ext uri="{FF2B5EF4-FFF2-40B4-BE49-F238E27FC236}">
                <a16:creationId xmlns:a16="http://schemas.microsoft.com/office/drawing/2014/main" id="{35644BD4-639F-B48E-D897-64509D115A7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/>
          <a:stretch>
            <a:fillRect/>
          </a:stretch>
        </p:blipFill>
        <p:spPr>
          <a:xfrm>
            <a:off x="782638" y="5081588"/>
            <a:ext cx="800100" cy="800100"/>
          </a:xfrm>
        </p:spPr>
      </p:pic>
    </p:spTree>
    <p:extLst>
      <p:ext uri="{BB962C8B-B14F-4D97-AF65-F5344CB8AC3E}">
        <p14:creationId xmlns:p14="http://schemas.microsoft.com/office/powerpoint/2010/main" val="305986126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26543-2C22-02DB-0574-BCBC6D55D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 </a:t>
            </a:r>
            <a:r>
              <a:rPr lang="en-US" dirty="0" err="1"/>
              <a:t>Mobilität</a:t>
            </a:r>
            <a:endParaRPr lang="en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E822913-50B8-4130-B7EF-6ECAE7806304}"/>
              </a:ext>
            </a:extLst>
          </p:cNvPr>
          <p:cNvSpPr txBox="1"/>
          <p:nvPr/>
        </p:nvSpPr>
        <p:spPr>
          <a:xfrm>
            <a:off x="520316" y="2503155"/>
            <a:ext cx="6325327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377">
              <a:defRPr/>
            </a:pPr>
            <a:r>
              <a:rPr lang="en-US" dirty="0"/>
              <a:t>Veeam Backup &amp; Replication </a:t>
            </a:r>
            <a:r>
              <a:rPr lang="en-US" dirty="0" err="1"/>
              <a:t>nutzt</a:t>
            </a:r>
            <a:r>
              <a:rPr lang="en-US" dirty="0"/>
              <a:t> </a:t>
            </a:r>
            <a:r>
              <a:rPr lang="en-US" dirty="0" err="1"/>
              <a:t>ein</a:t>
            </a:r>
            <a:r>
              <a:rPr lang="en-US" dirty="0"/>
              <a:t> </a:t>
            </a:r>
            <a:r>
              <a:rPr lang="en-US" dirty="0" err="1"/>
              <a:t>eigenständiges</a:t>
            </a:r>
            <a:r>
              <a:rPr lang="en-US" dirty="0"/>
              <a:t> </a:t>
            </a:r>
            <a:r>
              <a:rPr lang="en-US" dirty="0" err="1"/>
              <a:t>Dateiformat</a:t>
            </a:r>
            <a:r>
              <a:rPr lang="en-US" dirty="0"/>
              <a:t>, welches </a:t>
            </a:r>
            <a:r>
              <a:rPr lang="en-US" dirty="0" err="1"/>
              <a:t>Ihnen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flexible </a:t>
            </a:r>
            <a:r>
              <a:rPr lang="en-US" dirty="0" err="1"/>
              <a:t>Aufbewahrung</a:t>
            </a:r>
            <a:r>
              <a:rPr lang="en-US" dirty="0"/>
              <a:t> </a:t>
            </a:r>
            <a:r>
              <a:rPr lang="en-US" dirty="0" err="1"/>
              <a:t>ermöglicht</a:t>
            </a:r>
            <a:r>
              <a:rPr lang="en-US" dirty="0"/>
              <a:t>, </a:t>
            </a:r>
            <a:r>
              <a:rPr lang="en-US" dirty="0" err="1"/>
              <a:t>sowie</a:t>
            </a:r>
            <a:r>
              <a:rPr lang="en-US" dirty="0"/>
              <a:t> </a:t>
            </a:r>
            <a:r>
              <a:rPr lang="en-US" dirty="0" err="1"/>
              <a:t>eine</a:t>
            </a:r>
            <a:r>
              <a:rPr lang="en-US" dirty="0"/>
              <a:t> </a:t>
            </a:r>
            <a:r>
              <a:rPr lang="en-US" dirty="0" err="1"/>
              <a:t>Vielzahl</a:t>
            </a:r>
            <a:r>
              <a:rPr lang="en-US" dirty="0"/>
              <a:t> an Restore-</a:t>
            </a:r>
            <a:r>
              <a:rPr lang="en-US" dirty="0" err="1"/>
              <a:t>Möglichkeiten</a:t>
            </a:r>
            <a:r>
              <a:rPr lang="en-US" dirty="0"/>
              <a:t>.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D1DF951A-1104-47A3-925E-559F127EF5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069457"/>
              </p:ext>
            </p:extLst>
          </p:nvPr>
        </p:nvGraphicFramePr>
        <p:xfrm>
          <a:off x="520700" y="4048766"/>
          <a:ext cx="11175999" cy="18818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5333">
                  <a:extLst>
                    <a:ext uri="{9D8B030D-6E8A-4147-A177-3AD203B41FA5}">
                      <a16:colId xmlns:a16="http://schemas.microsoft.com/office/drawing/2014/main" val="1911362137"/>
                    </a:ext>
                  </a:extLst>
                </a:gridCol>
                <a:gridCol w="3725333">
                  <a:extLst>
                    <a:ext uri="{9D8B030D-6E8A-4147-A177-3AD203B41FA5}">
                      <a16:colId xmlns:a16="http://schemas.microsoft.com/office/drawing/2014/main" val="1323521699"/>
                    </a:ext>
                  </a:extLst>
                </a:gridCol>
                <a:gridCol w="3725333">
                  <a:extLst>
                    <a:ext uri="{9D8B030D-6E8A-4147-A177-3AD203B41FA5}">
                      <a16:colId xmlns:a16="http://schemas.microsoft.com/office/drawing/2014/main" val="4273374885"/>
                    </a:ext>
                  </a:extLst>
                </a:gridCol>
              </a:tblGrid>
              <a:tr h="47979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 err="1">
                          <a:solidFill>
                            <a:srgbClr val="8E71F4"/>
                          </a:solidFill>
                        </a:rPr>
                        <a:t>Flexibel</a:t>
                      </a:r>
                      <a:endParaRPr lang="en-US" dirty="0">
                        <a:solidFill>
                          <a:srgbClr val="8E71F4"/>
                        </a:solidFill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>
                          <a:solidFill>
                            <a:srgbClr val="8E71F4"/>
                          </a:solidFill>
                        </a:rPr>
                        <a:t>Sicher</a:t>
                      </a:r>
                      <a:endParaRPr lang="en-US" dirty="0">
                        <a:solidFill>
                          <a:srgbClr val="8E71F4"/>
                        </a:solidFill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 err="1">
                          <a:solidFill>
                            <a:srgbClr val="8E71F4"/>
                          </a:solidFill>
                        </a:rPr>
                        <a:t>Kein</a:t>
                      </a:r>
                      <a:r>
                        <a:rPr lang="en-US" dirty="0">
                          <a:solidFill>
                            <a:srgbClr val="8E71F4"/>
                          </a:solidFill>
                        </a:rPr>
                        <a:t> Vendor Lock-In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6172535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r>
                        <a:rPr lang="en-US" sz="1400" dirty="0" err="1"/>
                        <a:t>Unkompliziertes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ateiformat</a:t>
                      </a:r>
                      <a:r>
                        <a:rPr lang="en-US" sz="1400" dirty="0"/>
                        <a:t>, welches </a:t>
                      </a:r>
                      <a:r>
                        <a:rPr lang="en-US" sz="1400" dirty="0" err="1"/>
                        <a:t>Ihn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rlaubt</a:t>
                      </a:r>
                      <a:r>
                        <a:rPr lang="en-US" sz="1400" dirty="0"/>
                        <a:t> Backup-</a:t>
                      </a:r>
                      <a:r>
                        <a:rPr lang="en-US" sz="1400" dirty="0" err="1"/>
                        <a:t>Dat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infach</a:t>
                      </a:r>
                      <a:r>
                        <a:rPr lang="en-US" sz="1400" dirty="0"/>
                        <a:t> und </a:t>
                      </a:r>
                      <a:r>
                        <a:rPr lang="en-US" sz="1400" dirty="0" err="1"/>
                        <a:t>verlässlic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erschieben</a:t>
                      </a:r>
                      <a:r>
                        <a:rPr lang="en-US" sz="1400" dirty="0"/>
                        <a:t>. </a:t>
                      </a:r>
                      <a:r>
                        <a:rPr lang="en-US" sz="1400" dirty="0" err="1"/>
                        <a:t>Geeignet</a:t>
                      </a:r>
                      <a:r>
                        <a:rPr lang="en-US" sz="1400" dirty="0"/>
                        <a:t> for offsite </a:t>
                      </a:r>
                      <a:r>
                        <a:rPr lang="en-US" sz="1400" dirty="0" err="1"/>
                        <a:t>Kopien</a:t>
                      </a:r>
                      <a:r>
                        <a:rPr lang="en-US" sz="1400" dirty="0"/>
                        <a:t> und </a:t>
                      </a:r>
                      <a:r>
                        <a:rPr lang="en-US" sz="1400" dirty="0" err="1"/>
                        <a:t>Dat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grationen</a:t>
                      </a:r>
                      <a:r>
                        <a:rPr lang="en-US" sz="1400" dirty="0"/>
                        <a:t>. </a:t>
                      </a:r>
                    </a:p>
                    <a:p>
                      <a:r>
                        <a:rPr lang="en-US" sz="1400" dirty="0" err="1"/>
                        <a:t>Erfüllen</a:t>
                      </a:r>
                      <a:r>
                        <a:rPr lang="en-US" sz="1400" dirty="0"/>
                        <a:t> Sie die 3-2-1-1-0 Regel </a:t>
                      </a:r>
                      <a:r>
                        <a:rPr lang="en-US" sz="1400" dirty="0" err="1"/>
                        <a:t>mit</a:t>
                      </a:r>
                      <a:r>
                        <a:rPr lang="en-US" sz="1400" dirty="0"/>
                        <a:t> der </a:t>
                      </a:r>
                      <a:r>
                        <a:rPr lang="en-US" sz="1400" dirty="0" err="1"/>
                        <a:t>Kombination</a:t>
                      </a:r>
                      <a:r>
                        <a:rPr lang="en-US" sz="1400" dirty="0"/>
                        <a:t>, die für Sie </a:t>
                      </a:r>
                      <a:r>
                        <a:rPr lang="en-US" sz="1400" dirty="0" err="1"/>
                        <a:t>passt</a:t>
                      </a:r>
                      <a:r>
                        <a:rPr lang="en-US" sz="1400" dirty="0"/>
                        <a:t>.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Schützen</a:t>
                      </a:r>
                      <a:r>
                        <a:rPr lang="en-US" sz="1400" dirty="0"/>
                        <a:t> Sie </a:t>
                      </a:r>
                      <a:r>
                        <a:rPr lang="en-US" sz="1400" dirty="0" err="1"/>
                        <a:t>Ihre</a:t>
                      </a:r>
                      <a:r>
                        <a:rPr lang="en-US" sz="1400" dirty="0"/>
                        <a:t> Backup-</a:t>
                      </a:r>
                      <a:r>
                        <a:rPr lang="en-US" sz="1400" dirty="0" err="1"/>
                        <a:t>Dat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o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unberechtigt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ugriff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t</a:t>
                      </a:r>
                      <a:r>
                        <a:rPr lang="en-US" sz="1400" dirty="0"/>
                        <a:t> AES-265 </a:t>
                      </a:r>
                      <a:r>
                        <a:rPr lang="en-US" sz="1400" dirty="0" err="1"/>
                        <a:t>Verschlüsselung</a:t>
                      </a:r>
                      <a:r>
                        <a:rPr lang="en-US" sz="1400" dirty="0"/>
                        <a:t>. </a:t>
                      </a:r>
                      <a:r>
                        <a:rPr lang="en-US" sz="1400" dirty="0" err="1"/>
                        <a:t>Kombinieren</a:t>
                      </a:r>
                      <a:r>
                        <a:rPr lang="en-US" sz="1400" dirty="0"/>
                        <a:t> Sie </a:t>
                      </a:r>
                      <a:r>
                        <a:rPr lang="en-US" sz="1400" dirty="0" err="1"/>
                        <a:t>dies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u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usätzlichen</a:t>
                      </a:r>
                      <a:r>
                        <a:rPr lang="en-US" sz="1400" dirty="0"/>
                        <a:t> Schutz </a:t>
                      </a:r>
                      <a:r>
                        <a:rPr lang="en-US" sz="1400" dirty="0" err="1"/>
                        <a:t>vor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yberangriff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t</a:t>
                      </a:r>
                      <a:r>
                        <a:rPr lang="en-US" sz="1400" dirty="0"/>
                        <a:t> immutable Backups.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/>
                        <a:t>Ihr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at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leib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mmer</a:t>
                      </a:r>
                      <a:r>
                        <a:rPr lang="en-US" sz="1400" dirty="0"/>
                        <a:t> für Sie </a:t>
                      </a:r>
                      <a:r>
                        <a:rPr lang="en-US" sz="1400" dirty="0" err="1"/>
                        <a:t>verfügbar</a:t>
                      </a:r>
                      <a:r>
                        <a:rPr lang="en-US" sz="1400" dirty="0"/>
                        <a:t>. </a:t>
                      </a:r>
                      <a:r>
                        <a:rPr lang="en-US" sz="1400" dirty="0" err="1"/>
                        <a:t>Unabhängi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avon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ob</a:t>
                      </a:r>
                      <a:r>
                        <a:rPr lang="en-US" sz="1400" dirty="0"/>
                        <a:t> Sie </a:t>
                      </a:r>
                      <a:r>
                        <a:rPr lang="en-US" sz="1400" dirty="0" err="1"/>
                        <a:t>zwisch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lattform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igrieren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der</a:t>
                      </a:r>
                      <a:r>
                        <a:rPr lang="en-US" sz="1400" dirty="0"/>
                        <a:t> die Cloud für </a:t>
                      </a:r>
                      <a:r>
                        <a:rPr lang="en-US" sz="1400" dirty="0" err="1"/>
                        <a:t>Ihre</a:t>
                      </a:r>
                      <a:r>
                        <a:rPr lang="en-US" sz="1400" dirty="0"/>
                        <a:t> DR </a:t>
                      </a:r>
                      <a:r>
                        <a:rPr lang="en-US" sz="1400" dirty="0" err="1"/>
                        <a:t>Strategi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utzen</a:t>
                      </a:r>
                      <a:r>
                        <a:rPr lang="en-US" sz="1400" dirty="0"/>
                        <a:t>. 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rgbClr val="8E71F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65839694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9B6F6414-2EB4-6B48-B668-509FB927882C}"/>
              </a:ext>
            </a:extLst>
          </p:cNvPr>
          <p:cNvGrpSpPr/>
          <p:nvPr/>
        </p:nvGrpSpPr>
        <p:grpSpPr>
          <a:xfrm>
            <a:off x="520315" y="1435304"/>
            <a:ext cx="8037664" cy="599475"/>
            <a:chOff x="381000" y="975993"/>
            <a:chExt cx="6028248" cy="44960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991FCD0-476B-4BFE-8B52-7080D9832F54}"/>
                </a:ext>
              </a:extLst>
            </p:cNvPr>
            <p:cNvSpPr txBox="1"/>
            <p:nvPr/>
          </p:nvSpPr>
          <p:spPr>
            <a:xfrm>
              <a:off x="990016" y="1116452"/>
              <a:ext cx="5419232" cy="2077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914377">
                <a:defRPr/>
              </a:pPr>
              <a:r>
                <a:rPr lang="en-US" b="1" dirty="0">
                  <a:solidFill>
                    <a:schemeClr val="accent2"/>
                  </a:solidFill>
                </a:rPr>
                <a:t>Sie </a:t>
              </a:r>
              <a:r>
                <a:rPr lang="en-US" b="1" dirty="0" err="1">
                  <a:solidFill>
                    <a:schemeClr val="accent2"/>
                  </a:solidFill>
                </a:rPr>
                <a:t>kontrollieren</a:t>
              </a:r>
              <a:r>
                <a:rPr lang="en-US" b="1" dirty="0">
                  <a:solidFill>
                    <a:schemeClr val="accent2"/>
                  </a:solidFill>
                </a:rPr>
                <a:t> und </a:t>
              </a:r>
              <a:r>
                <a:rPr lang="en-US" b="1" dirty="0" err="1">
                  <a:solidFill>
                    <a:schemeClr val="accent2"/>
                  </a:solidFill>
                </a:rPr>
                <a:t>besitzen</a:t>
              </a:r>
              <a:r>
                <a:rPr lang="en-US" b="1" dirty="0">
                  <a:solidFill>
                    <a:schemeClr val="accent2"/>
                  </a:solidFill>
                </a:rPr>
                <a:t> </a:t>
              </a:r>
              <a:r>
                <a:rPr lang="en-US" b="1" dirty="0" err="1">
                  <a:solidFill>
                    <a:schemeClr val="accent2"/>
                  </a:solidFill>
                </a:rPr>
                <a:t>Ihre</a:t>
              </a:r>
              <a:r>
                <a:rPr lang="en-US" b="1" dirty="0">
                  <a:solidFill>
                    <a:schemeClr val="accent2"/>
                  </a:solidFill>
                </a:rPr>
                <a:t> Backup-</a:t>
              </a:r>
              <a:r>
                <a:rPr lang="en-US" b="1" dirty="0" err="1">
                  <a:solidFill>
                    <a:schemeClr val="accent2"/>
                  </a:solidFill>
                </a:rPr>
                <a:t>Daten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F803E080-A50B-79A7-0385-B905E5BBD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381000" y="975993"/>
              <a:ext cx="449606" cy="449606"/>
            </a:xfrm>
            <a:prstGeom prst="rect">
              <a:avLst/>
            </a:prstGeom>
          </p:spPr>
        </p:pic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FBEE3A-2D59-008B-D692-39AAF5C2A0D6}"/>
              </a:ext>
            </a:extLst>
          </p:cNvPr>
          <p:cNvCxnSpPr>
            <a:cxnSpLocks/>
          </p:cNvCxnSpPr>
          <p:nvPr/>
        </p:nvCxnSpPr>
        <p:spPr>
          <a:xfrm>
            <a:off x="520315" y="2241357"/>
            <a:ext cx="5979339" cy="0"/>
          </a:xfrm>
          <a:prstGeom prst="line">
            <a:avLst/>
          </a:prstGeom>
          <a:ln w="12700">
            <a:solidFill>
              <a:schemeClr val="accent2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4BF33CE3-218F-6B83-E06D-BFA73551539B}"/>
              </a:ext>
            </a:extLst>
          </p:cNvPr>
          <p:cNvGrpSpPr/>
          <p:nvPr/>
        </p:nvGrpSpPr>
        <p:grpSpPr>
          <a:xfrm>
            <a:off x="8371398" y="702032"/>
            <a:ext cx="2811467" cy="2323254"/>
            <a:chOff x="8705030" y="647730"/>
            <a:chExt cx="2811467" cy="2323254"/>
          </a:xfrm>
        </p:grpSpPr>
        <p:sp>
          <p:nvSpPr>
            <p:cNvPr id="36" name="TextBox 33">
              <a:extLst>
                <a:ext uri="{FF2B5EF4-FFF2-40B4-BE49-F238E27FC236}">
                  <a16:creationId xmlns:a16="http://schemas.microsoft.com/office/drawing/2014/main" id="{26ABD07B-81B0-446F-914D-2F132E130E81}"/>
                </a:ext>
              </a:extLst>
            </p:cNvPr>
            <p:cNvSpPr txBox="1"/>
            <p:nvPr/>
          </p:nvSpPr>
          <p:spPr>
            <a:xfrm>
              <a:off x="9515163" y="2614721"/>
              <a:ext cx="1311578" cy="261610"/>
            </a:xfrm>
            <a:prstGeom prst="rect">
              <a:avLst/>
            </a:prstGeom>
          </p:spPr>
          <p:txBody>
            <a:bodyPr wrap="none" rtlCol="0" anchor="ctr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14208">
                <a:defRPr/>
              </a:pPr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ahoma"/>
                </a:rPr>
                <a:t>Veeam Repository</a:t>
              </a:r>
              <a:endPara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/>
              </a:endParaRPr>
            </a:p>
          </p:txBody>
        </p:sp>
        <p:sp>
          <p:nvSpPr>
            <p:cNvPr id="37" name="Isosceles Triangle 35">
              <a:extLst>
                <a:ext uri="{FF2B5EF4-FFF2-40B4-BE49-F238E27FC236}">
                  <a16:creationId xmlns:a16="http://schemas.microsoft.com/office/drawing/2014/main" id="{8D9A886C-3D6D-4F00-8588-2A7FBFAA3E56}"/>
                </a:ext>
              </a:extLst>
            </p:cNvPr>
            <p:cNvSpPr/>
            <p:nvPr/>
          </p:nvSpPr>
          <p:spPr bwMode="auto">
            <a:xfrm rot="10800000">
              <a:off x="9374133" y="1552122"/>
              <a:ext cx="1593639" cy="392879"/>
            </a:xfrm>
            <a:prstGeom prst="triangle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68562" tIns="34281" rIns="34281" bIns="6856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38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76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ahoma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38" name="Graphic 36">
              <a:extLst>
                <a:ext uri="{FF2B5EF4-FFF2-40B4-BE49-F238E27FC236}">
                  <a16:creationId xmlns:a16="http://schemas.microsoft.com/office/drawing/2014/main" id="{0B1A87E8-9470-4464-AE15-7CEA911CB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738952" y="1809357"/>
              <a:ext cx="864000" cy="864000"/>
            </a:xfrm>
            <a:prstGeom prst="rect">
              <a:avLst/>
            </a:prstGeom>
          </p:spPr>
        </p:pic>
        <p:pic>
          <p:nvPicPr>
            <p:cNvPr id="39" name="Graphic 37">
              <a:extLst>
                <a:ext uri="{FF2B5EF4-FFF2-40B4-BE49-F238E27FC236}">
                  <a16:creationId xmlns:a16="http://schemas.microsoft.com/office/drawing/2014/main" id="{195BBA1A-0699-48FC-8594-DCFD29B76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9761821" y="873058"/>
              <a:ext cx="807682" cy="807682"/>
            </a:xfrm>
            <a:prstGeom prst="rect">
              <a:avLst/>
            </a:prstGeom>
          </p:spPr>
        </p:pic>
        <p:pic>
          <p:nvPicPr>
            <p:cNvPr id="40" name="Graphic 38">
              <a:extLst>
                <a:ext uri="{FF2B5EF4-FFF2-40B4-BE49-F238E27FC236}">
                  <a16:creationId xmlns:a16="http://schemas.microsoft.com/office/drawing/2014/main" id="{C604DA20-A7B0-4F4C-A3DF-24DE8DE9F14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9302098" y="1108272"/>
              <a:ext cx="515886" cy="515886"/>
            </a:xfrm>
            <a:prstGeom prst="rect">
              <a:avLst/>
            </a:prstGeom>
          </p:spPr>
        </p:pic>
        <p:pic>
          <p:nvPicPr>
            <p:cNvPr id="41" name="Graphic 39">
              <a:extLst>
                <a:ext uri="{FF2B5EF4-FFF2-40B4-BE49-F238E27FC236}">
                  <a16:creationId xmlns:a16="http://schemas.microsoft.com/office/drawing/2014/main" id="{B27BFECC-C087-4A2A-A35A-32A11920B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10513340" y="1115320"/>
              <a:ext cx="515886" cy="515886"/>
            </a:xfrm>
            <a:prstGeom prst="rect">
              <a:avLst/>
            </a:prstGeom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8C660EB7-AB79-F397-63C5-8EB4D486671F}"/>
                </a:ext>
              </a:extLst>
            </p:cNvPr>
            <p:cNvSpPr/>
            <p:nvPr/>
          </p:nvSpPr>
          <p:spPr>
            <a:xfrm>
              <a:off x="8705030" y="647730"/>
              <a:ext cx="2811467" cy="2323254"/>
            </a:xfrm>
            <a:prstGeom prst="roundRect">
              <a:avLst>
                <a:gd name="adj" fmla="val 9563"/>
              </a:avLst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dirty="0">
                <a:solidFill>
                  <a:schemeClr val="bg1"/>
                </a:solidFill>
                <a:latin typeface="ES Build" pitchFamily="50" charset="0"/>
                <a:cs typeface="Microsoft Sans Serif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46642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Untertitel 40">
            <a:extLst>
              <a:ext uri="{FF2B5EF4-FFF2-40B4-BE49-F238E27FC236}">
                <a16:creationId xmlns:a16="http://schemas.microsoft.com/office/drawing/2014/main" id="{5EDA9CF7-32AA-8EB6-0372-0799586B03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400" dirty="0"/>
              <a:t>Mit Veeam können Workloads von on-</a:t>
            </a:r>
            <a:r>
              <a:rPr lang="de-DE" sz="2400" dirty="0" err="1"/>
              <a:t>premises</a:t>
            </a:r>
            <a:r>
              <a:rPr lang="de-DE" sz="2400" dirty="0"/>
              <a:t> in die Cloud wiederhergestellt werden, aber auch von Cloud zu Cloud, Cloud zu on-</a:t>
            </a:r>
            <a:r>
              <a:rPr lang="de-DE" sz="2400" dirty="0" err="1"/>
              <a:t>premises</a:t>
            </a:r>
            <a:r>
              <a:rPr lang="de-DE" sz="2400" dirty="0"/>
              <a:t>, virtuell nach virtuell,…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B42B7B-414A-4155-AF15-51925E1E8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‑</a:t>
            </a:r>
            <a:r>
              <a:rPr lang="en-US" dirty="0" err="1"/>
              <a:t>Plattform</a:t>
            </a:r>
            <a:r>
              <a:rPr lang="en-US" dirty="0"/>
              <a:t> Backup &amp; DR – Image-Level </a:t>
            </a:r>
            <a:endParaRPr lang="de-AT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587C292-CC9B-F711-59D5-A0E86ED7D78A}"/>
              </a:ext>
            </a:extLst>
          </p:cNvPr>
          <p:cNvGrpSpPr/>
          <p:nvPr/>
        </p:nvGrpSpPr>
        <p:grpSpPr>
          <a:xfrm>
            <a:off x="171879" y="2421852"/>
            <a:ext cx="4268719" cy="3698415"/>
            <a:chOff x="109279" y="1306564"/>
            <a:chExt cx="4268719" cy="3698415"/>
          </a:xfrm>
        </p:grpSpPr>
        <p:sp>
          <p:nvSpPr>
            <p:cNvPr id="140" name="Isosceles Triangle 139">
              <a:extLst>
                <a:ext uri="{FF2B5EF4-FFF2-40B4-BE49-F238E27FC236}">
                  <a16:creationId xmlns:a16="http://schemas.microsoft.com/office/drawing/2014/main" id="{31F470BD-0F1C-0B61-18B2-CCDBB5150815}"/>
                </a:ext>
              </a:extLst>
            </p:cNvPr>
            <p:cNvSpPr/>
            <p:nvPr/>
          </p:nvSpPr>
          <p:spPr bwMode="auto">
            <a:xfrm rot="5400000">
              <a:off x="1762134" y="2340627"/>
              <a:ext cx="3649927" cy="1581801"/>
            </a:xfrm>
            <a:prstGeom prst="triangle">
              <a:avLst>
                <a:gd name="adj" fmla="val 50187"/>
              </a:avLst>
            </a:prstGeom>
            <a:gradFill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</a:gradFill>
            <a:ln w="12700">
              <a:noFill/>
              <a:headEnd type="none" w="med" len="med"/>
              <a:tailEnd type="triangl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D2311FA-2AD9-F446-D845-ABDA4DAD1674}"/>
                </a:ext>
              </a:extLst>
            </p:cNvPr>
            <p:cNvGrpSpPr/>
            <p:nvPr/>
          </p:nvGrpSpPr>
          <p:grpSpPr>
            <a:xfrm>
              <a:off x="109279" y="3844157"/>
              <a:ext cx="1860817" cy="1160822"/>
              <a:chOff x="178551" y="4342921"/>
              <a:chExt cx="1860817" cy="1160822"/>
            </a:xfrm>
          </p:grpSpPr>
          <p:pic>
            <p:nvPicPr>
              <p:cNvPr id="5" name="Graphic 4">
                <a:extLst>
                  <a:ext uri="{FF2B5EF4-FFF2-40B4-BE49-F238E27FC236}">
                    <a16:creationId xmlns:a16="http://schemas.microsoft.com/office/drawing/2014/main" id="{97584E06-0821-1824-7FBA-9D09307445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1673608" y="5137983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92C709EB-1FFB-908A-2EF7-084CAA3CCF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1673608" y="4740452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B7351EF5-D2DD-9D4F-68AF-99925DC63F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1673608" y="4342921"/>
                <a:ext cx="365760" cy="365760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0FFAD7B-3CE3-02CE-EE97-346A19C0CA41}"/>
                  </a:ext>
                </a:extLst>
              </p:cNvPr>
              <p:cNvSpPr txBox="1"/>
              <p:nvPr/>
            </p:nvSpPr>
            <p:spPr>
              <a:xfrm>
                <a:off x="178551" y="4376747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Azure VM</a:t>
                </a:r>
                <a:endParaRPr lang="en-US" sz="1000" dirty="0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2986CF6-35D2-EF5A-7DD8-7D0E9816D6F0}"/>
                  </a:ext>
                </a:extLst>
              </p:cNvPr>
              <p:cNvSpPr txBox="1"/>
              <p:nvPr/>
            </p:nvSpPr>
            <p:spPr>
              <a:xfrm>
                <a:off x="178551" y="4774278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AWS EC2</a:t>
                </a:r>
                <a:endParaRPr lang="en-US" sz="1000" dirty="0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DB90F18-F3E1-7AEA-9150-9CD274645066}"/>
                  </a:ext>
                </a:extLst>
              </p:cNvPr>
              <p:cNvSpPr txBox="1"/>
              <p:nvPr/>
            </p:nvSpPr>
            <p:spPr>
              <a:xfrm>
                <a:off x="178551" y="5171809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Google Cloud VM</a:t>
                </a:r>
                <a:endParaRPr lang="en-US" sz="1000" dirty="0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B64B8B04-0662-12D4-C8DD-0412D983CB0F}"/>
                </a:ext>
              </a:extLst>
            </p:cNvPr>
            <p:cNvGrpSpPr/>
            <p:nvPr/>
          </p:nvGrpSpPr>
          <p:grpSpPr>
            <a:xfrm>
              <a:off x="109279" y="1306566"/>
              <a:ext cx="1877543" cy="2429612"/>
              <a:chOff x="178551" y="1805330"/>
              <a:chExt cx="1877543" cy="2429612"/>
            </a:xfrm>
          </p:grpSpPr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C9D8313C-8F08-6F62-56EF-160599338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1660094" y="1805330"/>
                <a:ext cx="396000" cy="396000"/>
              </a:xfrm>
              <a:prstGeom prst="rect">
                <a:avLst/>
              </a:prstGeom>
            </p:spPr>
          </p:pic>
          <p:pic>
            <p:nvPicPr>
              <p:cNvPr id="7" name="Graphic 6">
                <a:extLst>
                  <a:ext uri="{FF2B5EF4-FFF2-40B4-BE49-F238E27FC236}">
                    <a16:creationId xmlns:a16="http://schemas.microsoft.com/office/drawing/2014/main" id="{5011326B-0BD3-B2AF-30D5-1051EDE9F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1673608" y="2202861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F8C2FF4B-5729-68AF-0F6F-205AA6E164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1673608" y="2600392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F6465100-88C8-0E4B-94A0-FF7289821D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/>
              <a:stretch/>
            </p:blipFill>
            <p:spPr>
              <a:xfrm>
                <a:off x="1673608" y="2997923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1" name="Graphic 10">
                <a:extLst>
                  <a:ext uri="{FF2B5EF4-FFF2-40B4-BE49-F238E27FC236}">
                    <a16:creationId xmlns:a16="http://schemas.microsoft.com/office/drawing/2014/main" id="{3104A390-5261-6AE1-9CED-50EFD29D4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/>
              <a:stretch/>
            </p:blipFill>
            <p:spPr>
              <a:xfrm>
                <a:off x="1673608" y="3869182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7DEE361B-6B6D-EFDD-E4AE-BA82B43A25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rcRect/>
              <a:stretch/>
            </p:blipFill>
            <p:spPr>
              <a:xfrm>
                <a:off x="1673608" y="3471651"/>
                <a:ext cx="365760" cy="36576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C4B6A55-6DED-FC53-F90D-022BF7C1D346}"/>
                  </a:ext>
                </a:extLst>
              </p:cNvPr>
              <p:cNvSpPr txBox="1"/>
              <p:nvPr/>
            </p:nvSpPr>
            <p:spPr>
              <a:xfrm>
                <a:off x="178551" y="2634218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Nutanix AHV</a:t>
                </a:r>
                <a:endParaRPr lang="en-US" sz="1000" dirty="0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0DBF9C6-A97F-8D37-7C1E-28305C003A70}"/>
                  </a:ext>
                </a:extLst>
              </p:cNvPr>
              <p:cNvSpPr txBox="1"/>
              <p:nvPr/>
            </p:nvSpPr>
            <p:spPr>
              <a:xfrm>
                <a:off x="178551" y="2236687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Microsoft Hyper-V</a:t>
                </a:r>
                <a:endParaRPr lang="en-US" sz="1000" dirty="0"/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7662595-9B4B-3045-AF5B-098CA6C845DB}"/>
                  </a:ext>
                </a:extLst>
              </p:cNvPr>
              <p:cNvSpPr txBox="1"/>
              <p:nvPr/>
            </p:nvSpPr>
            <p:spPr>
              <a:xfrm>
                <a:off x="178551" y="3031749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RedHat Virtualization</a:t>
                </a:r>
                <a:endParaRPr lang="en-US" sz="1000" dirty="0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904C489-C9B9-A303-4042-28C131AB1D14}"/>
                  </a:ext>
                </a:extLst>
              </p:cNvPr>
              <p:cNvSpPr txBox="1"/>
              <p:nvPr/>
            </p:nvSpPr>
            <p:spPr>
              <a:xfrm>
                <a:off x="178551" y="3505477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Windows Agents</a:t>
                </a:r>
                <a:endParaRPr lang="en-US" sz="1000" dirty="0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4864021-9C78-42B1-D11B-C9CB93424E1E}"/>
                  </a:ext>
                </a:extLst>
              </p:cNvPr>
              <p:cNvSpPr txBox="1"/>
              <p:nvPr/>
            </p:nvSpPr>
            <p:spPr>
              <a:xfrm>
                <a:off x="178551" y="3903008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Linux Agents</a:t>
                </a:r>
                <a:endParaRPr lang="en-US" sz="1000" dirty="0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545C4F88-FDE7-F438-2DBD-33ABA32D1B66}"/>
                  </a:ext>
                </a:extLst>
              </p:cNvPr>
              <p:cNvSpPr txBox="1"/>
              <p:nvPr/>
            </p:nvSpPr>
            <p:spPr>
              <a:xfrm>
                <a:off x="178551" y="1839156"/>
                <a:ext cx="1495057" cy="246221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algn="r"/>
                <a:r>
                  <a:rPr lang="en-US" sz="1000"/>
                  <a:t>VMware vSphere</a:t>
                </a:r>
                <a:endParaRPr lang="en-US" sz="1000" dirty="0"/>
              </a:p>
            </p:txBody>
          </p:sp>
        </p:grp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CF650F02-01CE-7B12-E48C-BC60BBEA9147}"/>
                </a:ext>
              </a:extLst>
            </p:cNvPr>
            <p:cNvSpPr/>
            <p:nvPr/>
          </p:nvSpPr>
          <p:spPr bwMode="auto">
            <a:xfrm rot="16200000">
              <a:off x="242737" y="3065619"/>
              <a:ext cx="3698412" cy="180303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 w="12700">
              <a:noFill/>
              <a:headEnd type="none" w="med" len="med"/>
              <a:tailEnd type="triangl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kern="1500" spc="800" dirty="0">
                  <a:solidFill>
                    <a:schemeClr val="tx1"/>
                  </a:solidFill>
                </a:rPr>
                <a:t>IMAGE LEVEL BACKUPS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87D0B05C-B19B-10DE-69AF-671810C44661}"/>
                </a:ext>
              </a:extLst>
            </p:cNvPr>
            <p:cNvGrpSpPr/>
            <p:nvPr/>
          </p:nvGrpSpPr>
          <p:grpSpPr>
            <a:xfrm>
              <a:off x="2302327" y="2505095"/>
              <a:ext cx="1532660" cy="922126"/>
              <a:chOff x="2379959" y="2286055"/>
              <a:chExt cx="1532660" cy="922126"/>
            </a:xfrm>
          </p:grpSpPr>
          <p:pic>
            <p:nvPicPr>
              <p:cNvPr id="114" name="Graphic 113">
                <a:extLst>
                  <a:ext uri="{FF2B5EF4-FFF2-40B4-BE49-F238E27FC236}">
                    <a16:creationId xmlns:a16="http://schemas.microsoft.com/office/drawing/2014/main" id="{70F99C96-3F3A-74A5-8947-3715914D54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rcRect/>
              <a:stretch/>
            </p:blipFill>
            <p:spPr>
              <a:xfrm>
                <a:off x="2856469" y="2286055"/>
                <a:ext cx="571500" cy="571500"/>
              </a:xfrm>
              <a:prstGeom prst="rect">
                <a:avLst/>
              </a:prstGeom>
            </p:spPr>
          </p:pic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6D31CAF9-1E47-4176-887B-8ABAD4C0C2AD}"/>
                  </a:ext>
                </a:extLst>
              </p:cNvPr>
              <p:cNvSpPr/>
              <p:nvPr/>
            </p:nvSpPr>
            <p:spPr>
              <a:xfrm>
                <a:off x="2379959" y="2931182"/>
                <a:ext cx="15326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218836">
                  <a:defRPr/>
                </a:pPr>
                <a:r>
                  <a:rPr lang="en-US" sz="1200" b="1" dirty="0">
                    <a:solidFill>
                      <a:schemeClr val="accent2"/>
                    </a:solidFill>
                    <a:latin typeface="+mj-lt"/>
                  </a:rPr>
                  <a:t>Protect Everything</a:t>
                </a: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03E8B3B-9633-A64A-ABBB-AC66AE66B502}"/>
              </a:ext>
            </a:extLst>
          </p:cNvPr>
          <p:cNvGrpSpPr/>
          <p:nvPr/>
        </p:nvGrpSpPr>
        <p:grpSpPr>
          <a:xfrm>
            <a:off x="4427377" y="3038766"/>
            <a:ext cx="2371361" cy="2641069"/>
            <a:chOff x="4412538" y="3038886"/>
            <a:chExt cx="2371361" cy="264106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BDC952C-0D4B-5BF0-AEC0-1F81B350EEF5}"/>
                </a:ext>
              </a:extLst>
            </p:cNvPr>
            <p:cNvGrpSpPr/>
            <p:nvPr/>
          </p:nvGrpSpPr>
          <p:grpSpPr>
            <a:xfrm>
              <a:off x="5004501" y="3038886"/>
              <a:ext cx="1104241" cy="777300"/>
              <a:chOff x="5842026" y="1930483"/>
              <a:chExt cx="799129" cy="584720"/>
            </a:xfrm>
          </p:grpSpPr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D1F3FA7A-F141-5AE8-3DC8-EA765FA680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rcRect/>
              <a:stretch/>
            </p:blipFill>
            <p:spPr>
              <a:xfrm>
                <a:off x="5842027" y="1965411"/>
                <a:ext cx="260529" cy="270808"/>
              </a:xfrm>
              <a:prstGeom prst="rect">
                <a:avLst/>
              </a:prstGeom>
            </p:spPr>
          </p:pic>
          <p:pic>
            <p:nvPicPr>
              <p:cNvPr id="31" name="Graphic 30">
                <a:extLst>
                  <a:ext uri="{FF2B5EF4-FFF2-40B4-BE49-F238E27FC236}">
                    <a16:creationId xmlns:a16="http://schemas.microsoft.com/office/drawing/2014/main" id="{46DF6A16-8D1F-52EF-52A5-5CC994F63C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rcRect/>
              <a:stretch/>
            </p:blipFill>
            <p:spPr>
              <a:xfrm>
                <a:off x="5958749" y="1930483"/>
                <a:ext cx="562523" cy="584720"/>
              </a:xfrm>
              <a:prstGeom prst="rect">
                <a:avLst/>
              </a:prstGeom>
            </p:spPr>
          </p:pic>
          <p:pic>
            <p:nvPicPr>
              <p:cNvPr id="32" name="Graphic 31">
                <a:extLst>
                  <a:ext uri="{FF2B5EF4-FFF2-40B4-BE49-F238E27FC236}">
                    <a16:creationId xmlns:a16="http://schemas.microsoft.com/office/drawing/2014/main" id="{32383E7E-8B52-BB67-E5BA-97E12CA6C7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rcRect/>
              <a:stretch/>
            </p:blipFill>
            <p:spPr>
              <a:xfrm>
                <a:off x="5842026" y="2210572"/>
                <a:ext cx="260529" cy="270808"/>
              </a:xfrm>
              <a:prstGeom prst="rect">
                <a:avLst/>
              </a:prstGeom>
            </p:spPr>
          </p:pic>
          <p:pic>
            <p:nvPicPr>
              <p:cNvPr id="33" name="Graphic 32">
                <a:extLst>
                  <a:ext uri="{FF2B5EF4-FFF2-40B4-BE49-F238E27FC236}">
                    <a16:creationId xmlns:a16="http://schemas.microsoft.com/office/drawing/2014/main" id="{BEACA846-06D5-5238-B834-397C7856C7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rcRect/>
              <a:stretch/>
            </p:blipFill>
            <p:spPr>
              <a:xfrm>
                <a:off x="6380626" y="2210572"/>
                <a:ext cx="260529" cy="270808"/>
              </a:xfrm>
              <a:prstGeom prst="rect">
                <a:avLst/>
              </a:prstGeom>
            </p:spPr>
          </p:pic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0D0FD4D-3012-BA3C-BCD2-CC7F13B98BFD}"/>
                </a:ext>
              </a:extLst>
            </p:cNvPr>
            <p:cNvGrpSpPr/>
            <p:nvPr/>
          </p:nvGrpSpPr>
          <p:grpSpPr>
            <a:xfrm>
              <a:off x="4412538" y="3972452"/>
              <a:ext cx="2371361" cy="617287"/>
              <a:chOff x="5339962" y="4330483"/>
              <a:chExt cx="2371361" cy="617287"/>
            </a:xfrm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387DCD23-DD85-062F-D9D8-F3E7230D18E7}"/>
                  </a:ext>
                </a:extLst>
              </p:cNvPr>
              <p:cNvGrpSpPr/>
              <p:nvPr/>
            </p:nvGrpSpPr>
            <p:grpSpPr>
              <a:xfrm>
                <a:off x="5339962" y="4330483"/>
                <a:ext cx="2371361" cy="617287"/>
                <a:chOff x="5339962" y="4330483"/>
                <a:chExt cx="2371361" cy="617287"/>
              </a:xfrm>
            </p:grpSpPr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1C051D99-8B5D-BD7F-CEDC-795160F6CF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1">
                  <a:extLst>
                    <a:ext uri="{96DAC541-7B7A-43D3-8B79-37D633B846F1}">
                      <asvg:svgBlip xmlns:asvg="http://schemas.microsoft.com/office/drawing/2016/SVG/main" r:embed="rId32"/>
                    </a:ext>
                  </a:extLst>
                </a:blip>
                <a:srcRect/>
                <a:stretch/>
              </p:blipFill>
              <p:spPr>
                <a:xfrm>
                  <a:off x="5339962" y="4342321"/>
                  <a:ext cx="540000" cy="540000"/>
                </a:xfrm>
                <a:prstGeom prst="rect">
                  <a:avLst/>
                </a:prstGeom>
              </p:spPr>
            </p:pic>
            <p:pic>
              <p:nvPicPr>
                <p:cNvPr id="25" name="Graphic 24">
                  <a:extLst>
                    <a:ext uri="{FF2B5EF4-FFF2-40B4-BE49-F238E27FC236}">
                      <a16:creationId xmlns:a16="http://schemas.microsoft.com/office/drawing/2014/main" id="{BA52C170-8CA5-31C1-5553-55B951ACCD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3">
                  <a:extLst>
                    <a:ext uri="{96DAC541-7B7A-43D3-8B79-37D633B846F1}">
                      <asvg:svgBlip xmlns:asvg="http://schemas.microsoft.com/office/drawing/2016/SVG/main" r:embed="rId34"/>
                    </a:ext>
                  </a:extLst>
                </a:blip>
                <a:srcRect/>
                <a:stretch/>
              </p:blipFill>
              <p:spPr>
                <a:xfrm>
                  <a:off x="6568762" y="4342321"/>
                  <a:ext cx="540000" cy="540000"/>
                </a:xfrm>
                <a:prstGeom prst="rect">
                  <a:avLst/>
                </a:prstGeom>
              </p:spPr>
            </p:pic>
            <p:pic>
              <p:nvPicPr>
                <p:cNvPr id="26" name="Graphic 25">
                  <a:extLst>
                    <a:ext uri="{FF2B5EF4-FFF2-40B4-BE49-F238E27FC236}">
                      <a16:creationId xmlns:a16="http://schemas.microsoft.com/office/drawing/2014/main" id="{CC6156E9-D134-B658-339F-DC86600263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5">
                  <a:extLst>
                    <a:ext uri="{96DAC541-7B7A-43D3-8B79-37D633B846F1}">
                      <asvg:svgBlip xmlns:asvg="http://schemas.microsoft.com/office/drawing/2016/SVG/main" r:embed="rId36"/>
                    </a:ext>
                  </a:extLst>
                </a:blip>
                <a:srcRect/>
                <a:stretch/>
              </p:blipFill>
              <p:spPr>
                <a:xfrm>
                  <a:off x="5942524" y="4330483"/>
                  <a:ext cx="563676" cy="563676"/>
                </a:xfrm>
                <a:prstGeom prst="rect">
                  <a:avLst/>
                </a:prstGeom>
              </p:spPr>
            </p:pic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6D504928-2465-D518-B3F6-E9D8467A2F2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440020" y="4647601"/>
                  <a:ext cx="163315" cy="300169"/>
                  <a:chOff x="7345037" y="5056907"/>
                  <a:chExt cx="204141" cy="416690"/>
                </a:xfrm>
              </p:grpSpPr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A8066A2F-CC0E-2E12-762E-D0B3F8D5E301}"/>
                      </a:ext>
                    </a:extLst>
                  </p:cNvPr>
                  <p:cNvSpPr/>
                  <p:nvPr/>
                </p:nvSpPr>
                <p:spPr>
                  <a:xfrm rot="18774939">
                    <a:off x="7450806" y="5134897"/>
                    <a:ext cx="21403" cy="21404"/>
                  </a:xfrm>
                  <a:custGeom>
                    <a:avLst/>
                    <a:gdLst>
                      <a:gd name="connsiteX0" fmla="*/ 0 w 21403"/>
                      <a:gd name="connsiteY0" fmla="*/ 0 h 21404"/>
                      <a:gd name="connsiteX1" fmla="*/ 21404 w 21403"/>
                      <a:gd name="connsiteY1" fmla="*/ 0 h 21404"/>
                      <a:gd name="connsiteX2" fmla="*/ 21404 w 21403"/>
                      <a:gd name="connsiteY2" fmla="*/ 21404 h 21404"/>
                      <a:gd name="connsiteX3" fmla="*/ 0 w 21403"/>
                      <a:gd name="connsiteY3" fmla="*/ 21404 h 214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1403" h="21404">
                        <a:moveTo>
                          <a:pt x="0" y="0"/>
                        </a:moveTo>
                        <a:lnTo>
                          <a:pt x="21404" y="0"/>
                        </a:lnTo>
                        <a:lnTo>
                          <a:pt x="21404" y="21404"/>
                        </a:lnTo>
                        <a:lnTo>
                          <a:pt x="0" y="2140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224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9FFC804B-47E9-EFF6-DE97-136C31991D24}"/>
                      </a:ext>
                    </a:extLst>
                  </p:cNvPr>
                  <p:cNvSpPr/>
                  <p:nvPr/>
                </p:nvSpPr>
                <p:spPr>
                  <a:xfrm>
                    <a:off x="7413013" y="5056907"/>
                    <a:ext cx="19583" cy="22614"/>
                  </a:xfrm>
                  <a:custGeom>
                    <a:avLst/>
                    <a:gdLst>
                      <a:gd name="connsiteX0" fmla="*/ 19584 w 19583"/>
                      <a:gd name="connsiteY0" fmla="*/ 22615 h 22614"/>
                      <a:gd name="connsiteX1" fmla="*/ 19584 w 19583"/>
                      <a:gd name="connsiteY1" fmla="*/ 0 h 22614"/>
                      <a:gd name="connsiteX2" fmla="*/ 0 w 19583"/>
                      <a:gd name="connsiteY2" fmla="*/ 11313 h 22614"/>
                      <a:gd name="connsiteX3" fmla="*/ 19584 w 19583"/>
                      <a:gd name="connsiteY3" fmla="*/ 22615 h 226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9583" h="22614">
                        <a:moveTo>
                          <a:pt x="19584" y="22615"/>
                        </a:moveTo>
                        <a:lnTo>
                          <a:pt x="19584" y="0"/>
                        </a:lnTo>
                        <a:lnTo>
                          <a:pt x="0" y="11313"/>
                        </a:lnTo>
                        <a:lnTo>
                          <a:pt x="19584" y="226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224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4CFBFD3F-74C4-4D19-BDB1-3889F22288A0}"/>
                      </a:ext>
                    </a:extLst>
                  </p:cNvPr>
                  <p:cNvSpPr/>
                  <p:nvPr/>
                </p:nvSpPr>
                <p:spPr>
                  <a:xfrm>
                    <a:off x="7485508" y="5067773"/>
                    <a:ext cx="29141" cy="29141"/>
                  </a:xfrm>
                  <a:custGeom>
                    <a:avLst/>
                    <a:gdLst>
                      <a:gd name="connsiteX0" fmla="*/ 14571 w 29141"/>
                      <a:gd name="connsiteY0" fmla="*/ 29140 h 29141"/>
                      <a:gd name="connsiteX1" fmla="*/ 29141 w 29141"/>
                      <a:gd name="connsiteY1" fmla="*/ 14570 h 29141"/>
                      <a:gd name="connsiteX2" fmla="*/ 14570 w 29141"/>
                      <a:gd name="connsiteY2" fmla="*/ 0 h 29141"/>
                      <a:gd name="connsiteX3" fmla="*/ 0 w 29141"/>
                      <a:gd name="connsiteY3" fmla="*/ 14570 h 29141"/>
                      <a:gd name="connsiteX4" fmla="*/ 14571 w 29141"/>
                      <a:gd name="connsiteY4" fmla="*/ 29141 h 291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141" h="29141">
                        <a:moveTo>
                          <a:pt x="14571" y="29140"/>
                        </a:moveTo>
                        <a:cubicBezTo>
                          <a:pt x="22618" y="29140"/>
                          <a:pt x="29141" y="22617"/>
                          <a:pt x="29141" y="14570"/>
                        </a:cubicBezTo>
                        <a:cubicBezTo>
                          <a:pt x="29141" y="6523"/>
                          <a:pt x="22617" y="-1"/>
                          <a:pt x="14570" y="0"/>
                        </a:cubicBezTo>
                        <a:cubicBezTo>
                          <a:pt x="6523" y="0"/>
                          <a:pt x="0" y="6523"/>
                          <a:pt x="0" y="14570"/>
                        </a:cubicBezTo>
                        <a:cubicBezTo>
                          <a:pt x="9" y="22613"/>
                          <a:pt x="6528" y="29131"/>
                          <a:pt x="14571" y="2914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24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FB37A129-AF2D-44ED-2E66-149B05B1DBC7}"/>
                      </a:ext>
                    </a:extLst>
                  </p:cNvPr>
                  <p:cNvSpPr/>
                  <p:nvPr/>
                </p:nvSpPr>
                <p:spPr>
                  <a:xfrm>
                    <a:off x="7345037" y="5290809"/>
                    <a:ext cx="204141" cy="182788"/>
                  </a:xfrm>
                  <a:custGeom>
                    <a:avLst/>
                    <a:gdLst>
                      <a:gd name="connsiteX0" fmla="*/ 38165 w 204141"/>
                      <a:gd name="connsiteY0" fmla="*/ 182788 h 182788"/>
                      <a:gd name="connsiteX1" fmla="*/ 165963 w 204141"/>
                      <a:gd name="connsiteY1" fmla="*/ 182788 h 182788"/>
                      <a:gd name="connsiteX2" fmla="*/ 204141 w 204141"/>
                      <a:gd name="connsiteY2" fmla="*/ 0 h 182788"/>
                      <a:gd name="connsiteX3" fmla="*/ 0 w 204141"/>
                      <a:gd name="connsiteY3" fmla="*/ 0 h 182788"/>
                      <a:gd name="connsiteX4" fmla="*/ 140087 w 204141"/>
                      <a:gd name="connsiteY4" fmla="*/ 42352 h 182788"/>
                      <a:gd name="connsiteX5" fmla="*/ 166927 w 204141"/>
                      <a:gd name="connsiteY5" fmla="*/ 69194 h 182788"/>
                      <a:gd name="connsiteX6" fmla="*/ 140085 w 204141"/>
                      <a:gd name="connsiteY6" fmla="*/ 96034 h 182788"/>
                      <a:gd name="connsiteX7" fmla="*/ 113245 w 204141"/>
                      <a:gd name="connsiteY7" fmla="*/ 69192 h 182788"/>
                      <a:gd name="connsiteX8" fmla="*/ 140087 w 204141"/>
                      <a:gd name="connsiteY8" fmla="*/ 42352 h 182788"/>
                      <a:gd name="connsiteX9" fmla="*/ 133982 w 204141"/>
                      <a:gd name="connsiteY9" fmla="*/ 131268 h 182788"/>
                      <a:gd name="connsiteX10" fmla="*/ 102697 w 204141"/>
                      <a:gd name="connsiteY10" fmla="*/ 164915 h 182788"/>
                      <a:gd name="connsiteX11" fmla="*/ 69049 w 204141"/>
                      <a:gd name="connsiteY11" fmla="*/ 133629 h 182788"/>
                      <a:gd name="connsiteX12" fmla="*/ 100335 w 204141"/>
                      <a:gd name="connsiteY12" fmla="*/ 99980 h 182788"/>
                      <a:gd name="connsiteX13" fmla="*/ 84875 w 204141"/>
                      <a:gd name="connsiteY13" fmla="*/ 87620 h 182788"/>
                      <a:gd name="connsiteX14" fmla="*/ 28485 w 204141"/>
                      <a:gd name="connsiteY14" fmla="*/ 55063 h 182788"/>
                      <a:gd name="connsiteX15" fmla="*/ 84875 w 204141"/>
                      <a:gd name="connsiteY15" fmla="*/ 22506 h 1827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4141" h="182788">
                        <a:moveTo>
                          <a:pt x="38165" y="182788"/>
                        </a:moveTo>
                        <a:lnTo>
                          <a:pt x="165963" y="182788"/>
                        </a:lnTo>
                        <a:lnTo>
                          <a:pt x="204141" y="0"/>
                        </a:lnTo>
                        <a:lnTo>
                          <a:pt x="0" y="0"/>
                        </a:lnTo>
                        <a:close/>
                        <a:moveTo>
                          <a:pt x="140087" y="42352"/>
                        </a:moveTo>
                        <a:cubicBezTo>
                          <a:pt x="154911" y="42352"/>
                          <a:pt x="166927" y="54370"/>
                          <a:pt x="166927" y="69194"/>
                        </a:cubicBezTo>
                        <a:cubicBezTo>
                          <a:pt x="166927" y="84018"/>
                          <a:pt x="154909" y="96034"/>
                          <a:pt x="140085" y="96034"/>
                        </a:cubicBezTo>
                        <a:cubicBezTo>
                          <a:pt x="125261" y="96033"/>
                          <a:pt x="113245" y="84016"/>
                          <a:pt x="113245" y="69192"/>
                        </a:cubicBezTo>
                        <a:cubicBezTo>
                          <a:pt x="113245" y="54368"/>
                          <a:pt x="125263" y="42352"/>
                          <a:pt x="140087" y="42352"/>
                        </a:cubicBezTo>
                        <a:close/>
                        <a:moveTo>
                          <a:pt x="133982" y="131268"/>
                        </a:moveTo>
                        <a:lnTo>
                          <a:pt x="102697" y="164915"/>
                        </a:lnTo>
                        <a:lnTo>
                          <a:pt x="69049" y="133629"/>
                        </a:lnTo>
                        <a:lnTo>
                          <a:pt x="100335" y="99980"/>
                        </a:lnTo>
                        <a:close/>
                        <a:moveTo>
                          <a:pt x="84875" y="87620"/>
                        </a:moveTo>
                        <a:lnTo>
                          <a:pt x="28485" y="55063"/>
                        </a:lnTo>
                        <a:lnTo>
                          <a:pt x="84875" y="22506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0"/>
                    </a:srgbClr>
                  </a:solidFill>
                  <a:ln w="1224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</p:grpSp>
            <p:pic>
              <p:nvPicPr>
                <p:cNvPr id="27" name="Graphic 26">
                  <a:extLst>
                    <a:ext uri="{FF2B5EF4-FFF2-40B4-BE49-F238E27FC236}">
                      <a16:creationId xmlns:a16="http://schemas.microsoft.com/office/drawing/2014/main" id="{47DEB586-3BB2-0FD4-6CC6-51529FB1DC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>
                  <a:extLst>
                    <a:ext uri="{96DAC541-7B7A-43D3-8B79-37D633B846F1}">
                      <asvg:svgBlip xmlns:asvg="http://schemas.microsoft.com/office/drawing/2016/SVG/main" r:embed="rId38"/>
                    </a:ext>
                  </a:extLst>
                </a:blip>
                <a:srcRect/>
                <a:stretch/>
              </p:blipFill>
              <p:spPr>
                <a:xfrm>
                  <a:off x="7171323" y="4342321"/>
                  <a:ext cx="540000" cy="540000"/>
                </a:xfrm>
                <a:prstGeom prst="rect">
                  <a:avLst/>
                </a:prstGeom>
              </p:spPr>
            </p:pic>
          </p:grp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9E366168-376A-5D66-0745-C7FFE52C09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21775" y="4627953"/>
                <a:ext cx="214388" cy="115214"/>
              </a:xfrm>
              <a:custGeom>
                <a:avLst/>
                <a:gdLst>
                  <a:gd name="connsiteX0" fmla="*/ 215027 w 259148"/>
                  <a:gd name="connsiteY0" fmla="*/ 59334 h 151267"/>
                  <a:gd name="connsiteX1" fmla="*/ 209983 w 259148"/>
                  <a:gd name="connsiteY1" fmla="*/ 59706 h 151267"/>
                  <a:gd name="connsiteX2" fmla="*/ 208257 w 259148"/>
                  <a:gd name="connsiteY2" fmla="*/ 54840 h 151267"/>
                  <a:gd name="connsiteX3" fmla="*/ 117622 w 259148"/>
                  <a:gd name="connsiteY3" fmla="*/ 2545 h 151267"/>
                  <a:gd name="connsiteX4" fmla="*/ 73065 w 259148"/>
                  <a:gd name="connsiteY4" fmla="*/ 36411 h 151267"/>
                  <a:gd name="connsiteX5" fmla="*/ 70884 w 259148"/>
                  <a:gd name="connsiteY5" fmla="*/ 40090 h 151267"/>
                  <a:gd name="connsiteX6" fmla="*/ 66690 w 259148"/>
                  <a:gd name="connsiteY6" fmla="*/ 39323 h 151267"/>
                  <a:gd name="connsiteX7" fmla="*/ 56541 w 259148"/>
                  <a:gd name="connsiteY7" fmla="*/ 38352 h 151267"/>
                  <a:gd name="connsiteX8" fmla="*/ 0 w 259148"/>
                  <a:gd name="connsiteY8" fmla="*/ 94727 h 151267"/>
                  <a:gd name="connsiteX9" fmla="*/ 56374 w 259148"/>
                  <a:gd name="connsiteY9" fmla="*/ 151267 h 151267"/>
                  <a:gd name="connsiteX10" fmla="*/ 56541 w 259148"/>
                  <a:gd name="connsiteY10" fmla="*/ 151267 h 151267"/>
                  <a:gd name="connsiteX11" fmla="*/ 212739 w 259148"/>
                  <a:gd name="connsiteY11" fmla="*/ 151267 h 151267"/>
                  <a:gd name="connsiteX12" fmla="*/ 259148 w 259148"/>
                  <a:gd name="connsiteY12" fmla="*/ 100651 h 151267"/>
                  <a:gd name="connsiteX13" fmla="*/ 217170 w 259148"/>
                  <a:gd name="connsiteY13" fmla="*/ 59264 h 151267"/>
                  <a:gd name="connsiteX14" fmla="*/ 215027 w 259148"/>
                  <a:gd name="connsiteY14" fmla="*/ 59334 h 151267"/>
                  <a:gd name="connsiteX15" fmla="*/ 73672 w 259148"/>
                  <a:gd name="connsiteY15" fmla="*/ 134134 h 151267"/>
                  <a:gd name="connsiteX16" fmla="*/ 68982 w 259148"/>
                  <a:gd name="connsiteY16" fmla="*/ 70995 h 151267"/>
                  <a:gd name="connsiteX17" fmla="*/ 126008 w 259148"/>
                  <a:gd name="connsiteY17" fmla="*/ 98503 h 151267"/>
                  <a:gd name="connsiteX18" fmla="*/ 114603 w 259148"/>
                  <a:gd name="connsiteY18" fmla="*/ 48212 h 151267"/>
                  <a:gd name="connsiteX19" fmla="*/ 140760 w 259148"/>
                  <a:gd name="connsiteY19" fmla="*/ 22054 h 151267"/>
                  <a:gd name="connsiteX20" fmla="*/ 166918 w 259148"/>
                  <a:gd name="connsiteY20" fmla="*/ 48212 h 151267"/>
                  <a:gd name="connsiteX21" fmla="*/ 140761 w 259148"/>
                  <a:gd name="connsiteY21" fmla="*/ 74369 h 151267"/>
                  <a:gd name="connsiteX22" fmla="*/ 140760 w 259148"/>
                  <a:gd name="connsiteY22" fmla="*/ 74369 h 151267"/>
                  <a:gd name="connsiteX23" fmla="*/ 114603 w 259148"/>
                  <a:gd name="connsiteY23" fmla="*/ 48212 h 151267"/>
                  <a:gd name="connsiteX24" fmla="*/ 169386 w 259148"/>
                  <a:gd name="connsiteY24" fmla="*/ 136945 h 151267"/>
                  <a:gd name="connsiteX25" fmla="*/ 154565 w 259148"/>
                  <a:gd name="connsiteY25" fmla="*/ 93889 h 151267"/>
                  <a:gd name="connsiteX26" fmla="*/ 197624 w 259148"/>
                  <a:gd name="connsiteY26" fmla="*/ 79069 h 151267"/>
                  <a:gd name="connsiteX27" fmla="*/ 212443 w 259148"/>
                  <a:gd name="connsiteY27" fmla="*/ 122126 h 151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59148" h="151267">
                    <a:moveTo>
                      <a:pt x="215027" y="59334"/>
                    </a:moveTo>
                    <a:lnTo>
                      <a:pt x="209983" y="59706"/>
                    </a:lnTo>
                    <a:lnTo>
                      <a:pt x="208257" y="54840"/>
                    </a:lnTo>
                    <a:cubicBezTo>
                      <a:pt x="197670" y="15371"/>
                      <a:pt x="157092" y="-8042"/>
                      <a:pt x="117622" y="2545"/>
                    </a:cubicBezTo>
                    <a:cubicBezTo>
                      <a:pt x="98909" y="7564"/>
                      <a:pt x="82911" y="19724"/>
                      <a:pt x="73065" y="36411"/>
                    </a:cubicBezTo>
                    <a:lnTo>
                      <a:pt x="70884" y="40090"/>
                    </a:lnTo>
                    <a:lnTo>
                      <a:pt x="66690" y="39323"/>
                    </a:lnTo>
                    <a:cubicBezTo>
                      <a:pt x="63345" y="38686"/>
                      <a:pt x="59947" y="38361"/>
                      <a:pt x="56541" y="38352"/>
                    </a:cubicBezTo>
                    <a:cubicBezTo>
                      <a:pt x="25360" y="38306"/>
                      <a:pt x="46" y="63546"/>
                      <a:pt x="0" y="94727"/>
                    </a:cubicBezTo>
                    <a:cubicBezTo>
                      <a:pt x="-46" y="125908"/>
                      <a:pt x="25194" y="151222"/>
                      <a:pt x="56374" y="151267"/>
                    </a:cubicBezTo>
                    <a:cubicBezTo>
                      <a:pt x="56430" y="151267"/>
                      <a:pt x="56486" y="151267"/>
                      <a:pt x="56541" y="151267"/>
                    </a:cubicBezTo>
                    <a:lnTo>
                      <a:pt x="212739" y="151267"/>
                    </a:lnTo>
                    <a:cubicBezTo>
                      <a:pt x="234859" y="151267"/>
                      <a:pt x="259148" y="124773"/>
                      <a:pt x="259148" y="100651"/>
                    </a:cubicBezTo>
                    <a:cubicBezTo>
                      <a:pt x="258985" y="77630"/>
                      <a:pt x="240190" y="59101"/>
                      <a:pt x="217170" y="59264"/>
                    </a:cubicBezTo>
                    <a:cubicBezTo>
                      <a:pt x="216455" y="59269"/>
                      <a:pt x="215741" y="59292"/>
                      <a:pt x="215027" y="59334"/>
                    </a:cubicBezTo>
                    <a:close/>
                    <a:moveTo>
                      <a:pt x="73672" y="134134"/>
                    </a:moveTo>
                    <a:lnTo>
                      <a:pt x="68982" y="70995"/>
                    </a:lnTo>
                    <a:lnTo>
                      <a:pt x="126008" y="98503"/>
                    </a:lnTo>
                    <a:close/>
                    <a:moveTo>
                      <a:pt x="114603" y="48212"/>
                    </a:moveTo>
                    <a:cubicBezTo>
                      <a:pt x="114603" y="33766"/>
                      <a:pt x="126314" y="22054"/>
                      <a:pt x="140760" y="22054"/>
                    </a:cubicBezTo>
                    <a:cubicBezTo>
                      <a:pt x="155206" y="22054"/>
                      <a:pt x="166918" y="33766"/>
                      <a:pt x="166918" y="48212"/>
                    </a:cubicBezTo>
                    <a:cubicBezTo>
                      <a:pt x="166918" y="62658"/>
                      <a:pt x="155207" y="74369"/>
                      <a:pt x="140761" y="74369"/>
                    </a:cubicBezTo>
                    <a:cubicBezTo>
                      <a:pt x="140760" y="74369"/>
                      <a:pt x="140760" y="74369"/>
                      <a:pt x="140760" y="74369"/>
                    </a:cubicBezTo>
                    <a:cubicBezTo>
                      <a:pt x="126314" y="74369"/>
                      <a:pt x="114603" y="62658"/>
                      <a:pt x="114603" y="48212"/>
                    </a:cubicBezTo>
                    <a:close/>
                    <a:moveTo>
                      <a:pt x="169386" y="136945"/>
                    </a:moveTo>
                    <a:lnTo>
                      <a:pt x="154565" y="93889"/>
                    </a:lnTo>
                    <a:lnTo>
                      <a:pt x="197624" y="79069"/>
                    </a:lnTo>
                    <a:lnTo>
                      <a:pt x="212443" y="122126"/>
                    </a:lnTo>
                    <a:close/>
                  </a:path>
                </a:pathLst>
              </a:custGeom>
              <a:solidFill>
                <a:srgbClr val="FFFFFF">
                  <a:alpha val="0"/>
                </a:srgbClr>
              </a:solidFill>
              <a:ln w="12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82A09A78-A84A-BF70-7B3D-3BC29EAB6460}"/>
                </a:ext>
              </a:extLst>
            </p:cNvPr>
            <p:cNvGrpSpPr/>
            <p:nvPr/>
          </p:nvGrpSpPr>
          <p:grpSpPr>
            <a:xfrm>
              <a:off x="4863725" y="4790032"/>
              <a:ext cx="1430102" cy="889923"/>
              <a:chOff x="4816598" y="5170872"/>
              <a:chExt cx="1430102" cy="889923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C350D8FB-F58A-AA34-2143-5F03E9ACF6A0}"/>
                  </a:ext>
                </a:extLst>
              </p:cNvPr>
              <p:cNvSpPr/>
              <p:nvPr/>
            </p:nvSpPr>
            <p:spPr>
              <a:xfrm>
                <a:off x="4816598" y="5783796"/>
                <a:ext cx="1430102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18836">
                  <a:defRPr/>
                </a:pPr>
                <a:r>
                  <a:rPr lang="en-US" sz="1200" b="1" dirty="0">
                    <a:solidFill>
                      <a:schemeClr val="accent2"/>
                    </a:solidFill>
                  </a:rPr>
                  <a:t>Store Anywhere</a:t>
                </a: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EADF5986-CE1E-0199-4773-C5AD6BCD4E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extLst>
                  <a:ext uri="{96DAC541-7B7A-43D3-8B79-37D633B846F1}">
                    <asvg:svgBlip xmlns:asvg="http://schemas.microsoft.com/office/drawing/2016/SVG/main" r:embed="rId40"/>
                  </a:ext>
                </a:extLst>
              </a:blip>
              <a:srcRect/>
              <a:stretch/>
            </p:blipFill>
            <p:spPr>
              <a:xfrm>
                <a:off x="5194149" y="5170872"/>
                <a:ext cx="675000" cy="540000"/>
              </a:xfrm>
              <a:prstGeom prst="rect">
                <a:avLst/>
              </a:prstGeom>
            </p:spPr>
          </p:pic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16458A3-71A0-A4AE-B6E8-92C275E1A8DA}"/>
              </a:ext>
            </a:extLst>
          </p:cNvPr>
          <p:cNvGrpSpPr/>
          <p:nvPr/>
        </p:nvGrpSpPr>
        <p:grpSpPr>
          <a:xfrm>
            <a:off x="6828159" y="2409376"/>
            <a:ext cx="5052114" cy="3712267"/>
            <a:chOff x="6828159" y="2409376"/>
            <a:chExt cx="5052114" cy="3712267"/>
          </a:xfrm>
        </p:grpSpPr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205E1622-FAC6-4C83-D7E4-052F75BCE2D7}"/>
                </a:ext>
              </a:extLst>
            </p:cNvPr>
            <p:cNvGrpSpPr/>
            <p:nvPr/>
          </p:nvGrpSpPr>
          <p:grpSpPr>
            <a:xfrm>
              <a:off x="6828159" y="2409376"/>
              <a:ext cx="2322952" cy="3712267"/>
              <a:chOff x="6765559" y="2000669"/>
              <a:chExt cx="2322952" cy="3712267"/>
            </a:xfrm>
          </p:grpSpPr>
          <p:sp>
            <p:nvSpPr>
              <p:cNvPr id="141" name="Isosceles Triangle 140">
                <a:extLst>
                  <a:ext uri="{FF2B5EF4-FFF2-40B4-BE49-F238E27FC236}">
                    <a16:creationId xmlns:a16="http://schemas.microsoft.com/office/drawing/2014/main" id="{36E80046-9BBC-D7FC-FB38-27EFB6074788}"/>
                  </a:ext>
                </a:extLst>
              </p:cNvPr>
              <p:cNvSpPr/>
              <p:nvPr/>
            </p:nvSpPr>
            <p:spPr bwMode="auto">
              <a:xfrm rot="16200000">
                <a:off x="5700326" y="3065902"/>
                <a:ext cx="3712267" cy="1581801"/>
              </a:xfrm>
              <a:prstGeom prst="triangle">
                <a:avLst>
                  <a:gd name="adj" fmla="val 50187"/>
                </a:avLst>
              </a:prstGeom>
              <a:gradFill>
                <a:gsLst>
                  <a:gs pos="0">
                    <a:schemeClr val="bg2"/>
                  </a:gs>
                  <a:gs pos="100000">
                    <a:schemeClr val="bg2">
                      <a:alpha val="0"/>
                    </a:schemeClr>
                  </a:gs>
                </a:gsLst>
                <a:lin ang="5400000" scaled="1"/>
              </a:gradFill>
              <a:ln w="12700">
                <a:noFill/>
                <a:headEnd type="none" w="med" len="med"/>
                <a:tailEnd type="triangl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1EA7F03D-3BEF-E2DA-A879-967E8BD30D93}"/>
                  </a:ext>
                </a:extLst>
              </p:cNvPr>
              <p:cNvGrpSpPr/>
              <p:nvPr/>
            </p:nvGrpSpPr>
            <p:grpSpPr>
              <a:xfrm>
                <a:off x="7448472" y="3239916"/>
                <a:ext cx="1640039" cy="893886"/>
                <a:chOff x="7496961" y="3281478"/>
                <a:chExt cx="1640039" cy="893886"/>
              </a:xfrm>
            </p:grpSpPr>
            <p:pic>
              <p:nvPicPr>
                <p:cNvPr id="122" name="Graphic 121">
                  <a:extLst>
                    <a:ext uri="{FF2B5EF4-FFF2-40B4-BE49-F238E27FC236}">
                      <a16:creationId xmlns:a16="http://schemas.microsoft.com/office/drawing/2014/main" id="{4192FDDC-54C5-F90E-F3C1-3E34E88548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1">
                  <a:extLst>
                    <a:ext uri="{96DAC541-7B7A-43D3-8B79-37D633B846F1}">
                      <asvg:svgBlip xmlns:asvg="http://schemas.microsoft.com/office/drawing/2016/SVG/main" r:embed="rId42"/>
                    </a:ext>
                  </a:extLst>
                </a:blip>
                <a:srcRect/>
                <a:stretch/>
              </p:blipFill>
              <p:spPr>
                <a:xfrm>
                  <a:off x="8031230" y="3281478"/>
                  <a:ext cx="571500" cy="571500"/>
                </a:xfrm>
                <a:prstGeom prst="rect">
                  <a:avLst/>
                </a:prstGeom>
              </p:spPr>
            </p:pic>
            <p:sp>
              <p:nvSpPr>
                <p:cNvPr id="132" name="Rectangle 131">
                  <a:extLst>
                    <a:ext uri="{FF2B5EF4-FFF2-40B4-BE49-F238E27FC236}">
                      <a16:creationId xmlns:a16="http://schemas.microsoft.com/office/drawing/2014/main" id="{7BCB5ECA-4505-557F-C5AB-81824B5B7B8A}"/>
                    </a:ext>
                  </a:extLst>
                </p:cNvPr>
                <p:cNvSpPr/>
                <p:nvPr/>
              </p:nvSpPr>
              <p:spPr>
                <a:xfrm>
                  <a:off x="7496961" y="3898365"/>
                  <a:ext cx="1640039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218836">
                    <a:defRPr/>
                  </a:pPr>
                  <a:r>
                    <a:rPr lang="en-US" sz="1200" b="1" dirty="0">
                      <a:solidFill>
                        <a:schemeClr val="accent2"/>
                      </a:solidFill>
                    </a:rPr>
                    <a:t>Recover Anywhere</a:t>
                  </a:r>
                </a:p>
              </p:txBody>
            </p:sp>
          </p:grp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1B38D62-FA11-1B17-F502-AC8B31658673}"/>
                </a:ext>
              </a:extLst>
            </p:cNvPr>
            <p:cNvGrpSpPr/>
            <p:nvPr/>
          </p:nvGrpSpPr>
          <p:grpSpPr>
            <a:xfrm>
              <a:off x="9399929" y="2608966"/>
              <a:ext cx="2480344" cy="3208201"/>
              <a:chOff x="9337329" y="1438257"/>
              <a:chExt cx="2480344" cy="3208201"/>
            </a:xfrm>
          </p:grpSpPr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B54820FE-E4A9-B259-5246-91427228FED6}"/>
                  </a:ext>
                </a:extLst>
              </p:cNvPr>
              <p:cNvGrpSpPr/>
              <p:nvPr/>
            </p:nvGrpSpPr>
            <p:grpSpPr>
              <a:xfrm>
                <a:off x="9337329" y="1438257"/>
                <a:ext cx="2146738" cy="1217063"/>
                <a:chOff x="9337329" y="2567406"/>
                <a:chExt cx="2146738" cy="1217063"/>
              </a:xfrm>
            </p:grpSpPr>
            <p:pic>
              <p:nvPicPr>
                <p:cNvPr id="55" name="Graphic 54">
                  <a:extLst>
                    <a:ext uri="{FF2B5EF4-FFF2-40B4-BE49-F238E27FC236}">
                      <a16:creationId xmlns:a16="http://schemas.microsoft.com/office/drawing/2014/main" id="{3EDF1FCE-AC7D-DE56-94C8-EF3C2A2DDB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rcRect/>
                <a:stretch/>
              </p:blipFill>
              <p:spPr>
                <a:xfrm>
                  <a:off x="9593010" y="2567406"/>
                  <a:ext cx="396000" cy="396000"/>
                </a:xfrm>
                <a:prstGeom prst="rect">
                  <a:avLst/>
                </a:prstGeom>
              </p:spPr>
            </p:pic>
            <p:pic>
              <p:nvPicPr>
                <p:cNvPr id="58" name="Graphic 57">
                  <a:extLst>
                    <a:ext uri="{FF2B5EF4-FFF2-40B4-BE49-F238E27FC236}">
                      <a16:creationId xmlns:a16="http://schemas.microsoft.com/office/drawing/2014/main" id="{45365FCF-7D33-9D5D-02E1-6CC17564288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rcRect/>
                <a:stretch/>
              </p:blipFill>
              <p:spPr>
                <a:xfrm>
                  <a:off x="9623250" y="2964937"/>
                  <a:ext cx="365760" cy="365760"/>
                </a:xfrm>
                <a:prstGeom prst="rect">
                  <a:avLst/>
                </a:prstGeom>
              </p:spPr>
            </p:pic>
            <p:pic>
              <p:nvPicPr>
                <p:cNvPr id="59" name="Graphic 58">
                  <a:extLst>
                    <a:ext uri="{FF2B5EF4-FFF2-40B4-BE49-F238E27FC236}">
                      <a16:creationId xmlns:a16="http://schemas.microsoft.com/office/drawing/2014/main" id="{850AA9A6-9034-DEAF-A5C8-B886E70179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rcRect/>
                <a:stretch/>
              </p:blipFill>
              <p:spPr>
                <a:xfrm>
                  <a:off x="9623250" y="3362468"/>
                  <a:ext cx="365760" cy="365760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31DF1A5F-4526-C6D0-9EC9-0129355EDDEE}"/>
                    </a:ext>
                  </a:extLst>
                </p:cNvPr>
                <p:cNvSpPr txBox="1"/>
                <p:nvPr/>
              </p:nvSpPr>
              <p:spPr>
                <a:xfrm>
                  <a:off x="9989010" y="3431687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 dirty="0"/>
                    <a:t>Nutanix AHV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F3056209-4DF2-CA22-3924-D5A805820738}"/>
                    </a:ext>
                  </a:extLst>
                </p:cNvPr>
                <p:cNvSpPr txBox="1"/>
                <p:nvPr/>
              </p:nvSpPr>
              <p:spPr>
                <a:xfrm>
                  <a:off x="9989010" y="3034156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 dirty="0"/>
                    <a:t>Microsoft Hyper-V</a:t>
                  </a: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CA5EF1B-EF92-3534-08D0-829B3A628CFB}"/>
                    </a:ext>
                  </a:extLst>
                </p:cNvPr>
                <p:cNvSpPr txBox="1"/>
                <p:nvPr/>
              </p:nvSpPr>
              <p:spPr>
                <a:xfrm>
                  <a:off x="9989010" y="2636625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 dirty="0"/>
                    <a:t>VMware vSphere</a:t>
                  </a:r>
                </a:p>
              </p:txBody>
            </p:sp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2387F2EC-BAF7-5038-F4C0-229BE26C525B}"/>
                    </a:ext>
                  </a:extLst>
                </p:cNvPr>
                <p:cNvSpPr/>
                <p:nvPr/>
              </p:nvSpPr>
              <p:spPr bwMode="auto">
                <a:xfrm rot="16200000">
                  <a:off x="8823674" y="3090510"/>
                  <a:ext cx="1207614" cy="180303"/>
                </a:xfrm>
                <a:prstGeom prst="rect">
                  <a:avLst/>
                </a:prstGeom>
                <a:solidFill>
                  <a:srgbClr val="D9D9D9">
                    <a:alpha val="20000"/>
                  </a:srgbClr>
                </a:solidFill>
                <a:ln w="12700">
                  <a:noFill/>
                  <a:headEnd type="none" w="med" len="med"/>
                  <a:tailEnd type="triangl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kern="1500" dirty="0">
                      <a:solidFill>
                        <a:schemeClr val="tx1"/>
                      </a:solidFill>
                    </a:rPr>
                    <a:t>INSTANT RECOVERY</a:t>
                  </a:r>
                </a:p>
              </p:txBody>
            </p:sp>
          </p:grp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1972A9CE-6225-AA5E-C5B5-BF7A6E35FBA2}"/>
                  </a:ext>
                </a:extLst>
              </p:cNvPr>
              <p:cNvGrpSpPr/>
              <p:nvPr/>
            </p:nvGrpSpPr>
            <p:grpSpPr>
              <a:xfrm>
                <a:off x="9337329" y="2655321"/>
                <a:ext cx="2480344" cy="1161236"/>
                <a:chOff x="9337329" y="3846813"/>
                <a:chExt cx="2480344" cy="1161236"/>
              </a:xfrm>
            </p:grpSpPr>
            <p:pic>
              <p:nvPicPr>
                <p:cNvPr id="56" name="Graphic 55">
                  <a:extLst>
                    <a:ext uri="{FF2B5EF4-FFF2-40B4-BE49-F238E27FC236}">
                      <a16:creationId xmlns:a16="http://schemas.microsoft.com/office/drawing/2014/main" id="{A05C7180-A395-4F45-5C5E-DA4A60A7E0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rcRect/>
                <a:stretch/>
              </p:blipFill>
              <p:spPr>
                <a:xfrm>
                  <a:off x="9631343" y="4642289"/>
                  <a:ext cx="365760" cy="365760"/>
                </a:xfrm>
                <a:prstGeom prst="rect">
                  <a:avLst/>
                </a:prstGeom>
              </p:spPr>
            </p:pic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D8A0708C-A988-81A1-6C2C-8EF90A981D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rcRect/>
                <a:stretch/>
              </p:blipFill>
              <p:spPr>
                <a:xfrm>
                  <a:off x="9631343" y="4244758"/>
                  <a:ext cx="365760" cy="365760"/>
                </a:xfrm>
                <a:prstGeom prst="rect">
                  <a:avLst/>
                </a:prstGeom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036FFB60-360C-B005-7F81-6A1A4D9F5E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rcRect/>
                <a:stretch/>
              </p:blipFill>
              <p:spPr>
                <a:xfrm>
                  <a:off x="9631343" y="3847227"/>
                  <a:ext cx="365760" cy="365760"/>
                </a:xfrm>
                <a:prstGeom prst="rect">
                  <a:avLst/>
                </a:prstGeom>
              </p:spPr>
            </p:pic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DA737C8C-3B0C-18D8-1CF2-A6EBC14D555D}"/>
                    </a:ext>
                  </a:extLst>
                </p:cNvPr>
                <p:cNvSpPr txBox="1"/>
                <p:nvPr/>
              </p:nvSpPr>
              <p:spPr>
                <a:xfrm>
                  <a:off x="9997103" y="4745501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/>
                    <a:t>Google Cloud Platform</a:t>
                  </a:r>
                  <a:endParaRPr lang="en-US" sz="1000" dirty="0"/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BC86ADC7-4C7E-B73F-B46B-4E2FE964B059}"/>
                    </a:ext>
                  </a:extLst>
                </p:cNvPr>
                <p:cNvSpPr txBox="1"/>
                <p:nvPr/>
              </p:nvSpPr>
              <p:spPr>
                <a:xfrm>
                  <a:off x="9997103" y="3904747"/>
                  <a:ext cx="1820570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 dirty="0"/>
                    <a:t>Microsoft Azure/Azure Stack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FCA4D797-292B-5368-8A61-49EFA9321987}"/>
                    </a:ext>
                  </a:extLst>
                </p:cNvPr>
                <p:cNvSpPr txBox="1"/>
                <p:nvPr/>
              </p:nvSpPr>
              <p:spPr>
                <a:xfrm>
                  <a:off x="9997103" y="4329465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/>
                    <a:t>AWS/VMware on AWS</a:t>
                  </a:r>
                  <a:endParaRPr lang="en-US" sz="1000" dirty="0"/>
                </a:p>
              </p:txBody>
            </p:sp>
            <p:sp>
              <p:nvSpPr>
                <p:cNvPr id="110" name="Rectangle 109">
                  <a:extLst>
                    <a:ext uri="{FF2B5EF4-FFF2-40B4-BE49-F238E27FC236}">
                      <a16:creationId xmlns:a16="http://schemas.microsoft.com/office/drawing/2014/main" id="{083DC1A0-2512-DA90-97FB-E46E4BE3B1C8}"/>
                    </a:ext>
                  </a:extLst>
                </p:cNvPr>
                <p:cNvSpPr/>
                <p:nvPr/>
              </p:nvSpPr>
              <p:spPr bwMode="auto">
                <a:xfrm rot="16200000">
                  <a:off x="8847070" y="4337072"/>
                  <a:ext cx="1160822" cy="180303"/>
                </a:xfrm>
                <a:prstGeom prst="rect">
                  <a:avLst/>
                </a:prstGeom>
                <a:solidFill>
                  <a:srgbClr val="D9D9D9">
                    <a:alpha val="20000"/>
                  </a:srgbClr>
                </a:solidFill>
                <a:ln w="12700">
                  <a:noFill/>
                  <a:headEnd type="none" w="med" len="med"/>
                  <a:tailEnd type="triangl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kern="1500" dirty="0">
                      <a:solidFill>
                        <a:schemeClr val="tx1"/>
                      </a:solidFill>
                    </a:rPr>
                    <a:t>DIRECT RESTORE</a:t>
                  </a: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F220601B-C3DC-7081-EBC0-D3B83071CF4C}"/>
                  </a:ext>
                </a:extLst>
              </p:cNvPr>
              <p:cNvGrpSpPr/>
              <p:nvPr/>
            </p:nvGrpSpPr>
            <p:grpSpPr>
              <a:xfrm>
                <a:off x="9337330" y="3816142"/>
                <a:ext cx="2174860" cy="830316"/>
                <a:chOff x="9326580" y="5064123"/>
                <a:chExt cx="2174860" cy="830316"/>
              </a:xfrm>
            </p:grpSpPr>
            <p:pic>
              <p:nvPicPr>
                <p:cNvPr id="71" name="Graphic 70">
                  <a:extLst>
                    <a:ext uri="{FF2B5EF4-FFF2-40B4-BE49-F238E27FC236}">
                      <a16:creationId xmlns:a16="http://schemas.microsoft.com/office/drawing/2014/main" id="{BC730A9A-C388-8235-41A2-33BB4BA3E4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rcRect/>
                <a:stretch/>
              </p:blipFill>
              <p:spPr>
                <a:xfrm>
                  <a:off x="9631343" y="5528679"/>
                  <a:ext cx="365760" cy="365760"/>
                </a:xfrm>
                <a:prstGeom prst="rect">
                  <a:avLst/>
                </a:prstGeom>
              </p:spPr>
            </p:pic>
            <p:pic>
              <p:nvPicPr>
                <p:cNvPr id="72" name="Graphic 71">
                  <a:extLst>
                    <a:ext uri="{FF2B5EF4-FFF2-40B4-BE49-F238E27FC236}">
                      <a16:creationId xmlns:a16="http://schemas.microsoft.com/office/drawing/2014/main" id="{E9D16B43-9A46-73A3-1E2B-79EA45A3E1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rcRect/>
                <a:stretch/>
              </p:blipFill>
              <p:spPr>
                <a:xfrm>
                  <a:off x="9631343" y="5131148"/>
                  <a:ext cx="365760" cy="365760"/>
                </a:xfrm>
                <a:prstGeom prst="rect">
                  <a:avLst/>
                </a:prstGeom>
              </p:spPr>
            </p:pic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5BD3DE97-C2E3-9CFB-15CB-8C23DD18D663}"/>
                    </a:ext>
                  </a:extLst>
                </p:cNvPr>
                <p:cNvSpPr/>
                <p:nvPr/>
              </p:nvSpPr>
              <p:spPr bwMode="auto">
                <a:xfrm rot="16200000">
                  <a:off x="9001574" y="5389129"/>
                  <a:ext cx="830315" cy="180303"/>
                </a:xfrm>
                <a:prstGeom prst="rect">
                  <a:avLst/>
                </a:prstGeom>
                <a:solidFill>
                  <a:srgbClr val="D9D9D9">
                    <a:alpha val="20000"/>
                  </a:srgbClr>
                </a:solidFill>
                <a:ln w="12700">
                  <a:noFill/>
                  <a:headEnd type="none" w="med" len="med"/>
                  <a:tailEnd type="triangl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50" kern="1500" dirty="0">
                      <a:solidFill>
                        <a:schemeClr val="tx1"/>
                      </a:solidFill>
                    </a:rPr>
                    <a:t>BARE-METAL</a:t>
                  </a: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AAEF8B1E-0697-4E2A-C79A-8761449B21BF}"/>
                    </a:ext>
                  </a:extLst>
                </p:cNvPr>
                <p:cNvSpPr txBox="1"/>
                <p:nvPr/>
              </p:nvSpPr>
              <p:spPr>
                <a:xfrm>
                  <a:off x="10006383" y="5188791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/>
                    <a:t>Windows Agents</a:t>
                  </a:r>
                  <a:endParaRPr lang="en-US" sz="1000" dirty="0"/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20212069-55A1-AA3B-E8B6-2094976CE1AB}"/>
                    </a:ext>
                  </a:extLst>
                </p:cNvPr>
                <p:cNvSpPr txBox="1"/>
                <p:nvPr/>
              </p:nvSpPr>
              <p:spPr>
                <a:xfrm>
                  <a:off x="10006383" y="5586322"/>
                  <a:ext cx="1495057" cy="246221"/>
                </a:xfrm>
                <a:prstGeom prst="rect">
                  <a:avLst/>
                </a:prstGeom>
              </p:spPr>
              <p:txBody>
                <a:bodyPr wrap="square" rtlCol="0" anchor="ctr">
                  <a:spAutoFit/>
                </a:bodyPr>
                <a:lstStyle/>
                <a:p>
                  <a:r>
                    <a:rPr lang="en-US" sz="1000"/>
                    <a:t>Linux Agents</a:t>
                  </a:r>
                  <a:endParaRPr lang="en-US" sz="1000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7827126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42B7B-414A-4155-AF15-51925E1E8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‑</a:t>
            </a:r>
            <a:r>
              <a:rPr lang="en-US" dirty="0" err="1"/>
              <a:t>Plattform</a:t>
            </a:r>
            <a:r>
              <a:rPr lang="en-US" dirty="0"/>
              <a:t> Backup &amp; DR – </a:t>
            </a:r>
            <a:r>
              <a:rPr lang="en-US" dirty="0" err="1"/>
              <a:t>Datei</a:t>
            </a:r>
            <a:r>
              <a:rPr lang="en-US" dirty="0"/>
              <a:t>/</a:t>
            </a:r>
            <a:r>
              <a:rPr lang="en-US" dirty="0" err="1"/>
              <a:t>Applikations</a:t>
            </a:r>
            <a:r>
              <a:rPr lang="en-US" dirty="0"/>
              <a:t>-Level</a:t>
            </a:r>
            <a:endParaRPr lang="de-AT" dirty="0"/>
          </a:p>
        </p:txBody>
      </p:sp>
      <p:sp>
        <p:nvSpPr>
          <p:cNvPr id="22" name="Untertitel 21">
            <a:extLst>
              <a:ext uri="{FF2B5EF4-FFF2-40B4-BE49-F238E27FC236}">
                <a16:creationId xmlns:a16="http://schemas.microsoft.com/office/drawing/2014/main" id="{C4B34DD1-9F9A-4FF1-CF86-EA3F387E7A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Datei</a:t>
            </a:r>
            <a:r>
              <a:rPr lang="en-US" dirty="0"/>
              <a:t>- und </a:t>
            </a:r>
            <a:r>
              <a:rPr lang="en-US" dirty="0" err="1"/>
              <a:t>Applikations-Sicherungen</a:t>
            </a:r>
            <a:r>
              <a:rPr lang="en-US" dirty="0"/>
              <a:t> </a:t>
            </a:r>
            <a:r>
              <a:rPr lang="en-US" dirty="0" err="1"/>
              <a:t>können</a:t>
            </a:r>
            <a:r>
              <a:rPr lang="en-US" dirty="0"/>
              <a:t> </a:t>
            </a:r>
            <a:r>
              <a:rPr lang="en-US" dirty="0" err="1"/>
              <a:t>auch</a:t>
            </a:r>
            <a:r>
              <a:rPr lang="en-US" dirty="0"/>
              <a:t> </a:t>
            </a:r>
            <a:r>
              <a:rPr lang="en-US" dirty="0" err="1"/>
              <a:t>flexibel</a:t>
            </a:r>
            <a:r>
              <a:rPr lang="en-US" dirty="0"/>
              <a:t> </a:t>
            </a:r>
            <a:r>
              <a:rPr lang="en-US" dirty="0" err="1"/>
              <a:t>wiederhergestellt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33" name="Inhaltsplatzhalter 32">
            <a:extLst>
              <a:ext uri="{FF2B5EF4-FFF2-40B4-BE49-F238E27FC236}">
                <a16:creationId xmlns:a16="http://schemas.microsoft.com/office/drawing/2014/main" id="{881B8E30-5F40-D481-026F-5B9B582382D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89850" y="2460840"/>
            <a:ext cx="9651610" cy="2160377"/>
          </a:xfrm>
        </p:spPr>
        <p:txBody>
          <a:bodyPr/>
          <a:lstStyle/>
          <a:p>
            <a:r>
              <a:rPr lang="de-DE" dirty="0"/>
              <a:t>File-/NAS-Sicherungen bei Wiederherstellung umleiten</a:t>
            </a:r>
          </a:p>
          <a:p>
            <a:r>
              <a:rPr lang="de-DE" dirty="0"/>
              <a:t>               Objekt Speicher zu einem anderen Anbieter wiederherstellen</a:t>
            </a:r>
          </a:p>
          <a:p>
            <a:r>
              <a:rPr lang="de-DE" dirty="0"/>
              <a:t>Datenbanken auf anderen Server oder in anderer Umgebung wiederherstellen </a:t>
            </a:r>
          </a:p>
          <a:p>
            <a:r>
              <a:rPr lang="de-DE" dirty="0"/>
              <a:t>Emails von Exchange Online nach Exchange on-</a:t>
            </a:r>
            <a:r>
              <a:rPr lang="de-DE" dirty="0" err="1"/>
              <a:t>premises</a:t>
            </a:r>
            <a:r>
              <a:rPr lang="de-DE" dirty="0"/>
              <a:t> wiederherstellen</a:t>
            </a:r>
          </a:p>
          <a:p>
            <a:endParaRPr lang="en-US" dirty="0"/>
          </a:p>
        </p:txBody>
      </p:sp>
      <p:sp>
        <p:nvSpPr>
          <p:cNvPr id="34" name="Rectangle: Rounded Corners 305">
            <a:extLst>
              <a:ext uri="{FF2B5EF4-FFF2-40B4-BE49-F238E27FC236}">
                <a16:creationId xmlns:a16="http://schemas.microsoft.com/office/drawing/2014/main" id="{539892A3-049C-261F-23C9-2CFA800EE669}"/>
              </a:ext>
            </a:extLst>
          </p:cNvPr>
          <p:cNvSpPr/>
          <p:nvPr/>
        </p:nvSpPr>
        <p:spPr>
          <a:xfrm>
            <a:off x="798741" y="2986372"/>
            <a:ext cx="784285" cy="319178"/>
          </a:xfrm>
          <a:prstGeom prst="roundRect">
            <a:avLst>
              <a:gd name="adj" fmla="val 2446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bg1"/>
                </a:solidFill>
                <a:latin typeface="ES Build" pitchFamily="50" charset="0"/>
                <a:cs typeface="Microsoft Sans Serif" panose="020B0604020202020204" pitchFamily="34" charset="0"/>
              </a:rPr>
              <a:t>V12.1</a:t>
            </a:r>
            <a:endParaRPr lang="en-US" b="1" dirty="0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C283945-B6E5-886B-B4F5-A6995BD4146A}"/>
              </a:ext>
            </a:extLst>
          </p:cNvPr>
          <p:cNvSpPr/>
          <p:nvPr/>
        </p:nvSpPr>
        <p:spPr>
          <a:xfrm>
            <a:off x="493287" y="2199503"/>
            <a:ext cx="10084097" cy="2520778"/>
          </a:xfrm>
          <a:prstGeom prst="roundRect">
            <a:avLst>
              <a:gd name="adj" fmla="val 6863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dirty="0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43517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IT der XYZ GmbH im Wandel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07D2C97-EB39-C410-5EB8-9B4EDE9447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/>
              <a:t>Veeam‘s</a:t>
            </a:r>
            <a:r>
              <a:rPr lang="de-DE" dirty="0"/>
              <a:t> Lösung</a:t>
            </a: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AB80F18E-5D62-B76C-693A-5B71A66370B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74140" y="2394727"/>
            <a:ext cx="4965819" cy="3771900"/>
          </a:xfrm>
        </p:spPr>
        <p:txBody>
          <a:bodyPr/>
          <a:lstStyle/>
          <a:p>
            <a:r>
              <a:rPr lang="de-DE" dirty="0"/>
              <a:t>Systeme von Cloud „A“ zu Cloud „B“ können mit direktem Restore wiederhergestellt werden</a:t>
            </a:r>
          </a:p>
          <a:p>
            <a:endParaRPr lang="de-DE" dirty="0"/>
          </a:p>
          <a:p>
            <a:r>
              <a:rPr lang="de-DE" dirty="0"/>
              <a:t>Systeme von Cloud „A“ zu Virtualisierungs-Lösung                         „C“ können: </a:t>
            </a:r>
          </a:p>
          <a:p>
            <a:pPr lvl="1"/>
            <a:r>
              <a:rPr lang="de-DE" dirty="0"/>
              <a:t>per direktem Restore wiederhergestellt werden</a:t>
            </a:r>
          </a:p>
          <a:p>
            <a:pPr lvl="1"/>
            <a:r>
              <a:rPr lang="de-DE" dirty="0"/>
              <a:t>per Instant Recovery wiederhergestellt werden, falls die Downtime minimiert werden soll </a:t>
            </a:r>
          </a:p>
          <a:p>
            <a:endParaRPr lang="en-US" dirty="0"/>
          </a:p>
        </p:txBody>
      </p:sp>
      <p:sp>
        <p:nvSpPr>
          <p:cNvPr id="29" name="Pentagon 137">
            <a:extLst>
              <a:ext uri="{FF2B5EF4-FFF2-40B4-BE49-F238E27FC236}">
                <a16:creationId xmlns:a16="http://schemas.microsoft.com/office/drawing/2014/main" id="{FD783BBB-09D0-E008-0EEA-EC241F8878F8}"/>
              </a:ext>
            </a:extLst>
          </p:cNvPr>
          <p:cNvSpPr/>
          <p:nvPr/>
        </p:nvSpPr>
        <p:spPr bwMode="auto">
          <a:xfrm>
            <a:off x="2643808" y="2712176"/>
            <a:ext cx="1378430" cy="211633"/>
          </a:xfrm>
          <a:prstGeom prst="homePlate">
            <a:avLst>
              <a:gd name="adj" fmla="val 40434"/>
            </a:avLst>
          </a:prstGeom>
          <a:noFill/>
          <a:ln w="6350" cap="flat" cmpd="sng" algn="ctr">
            <a:noFill/>
            <a:prstDash val="solid"/>
          </a:ln>
          <a:effectLst/>
        </p:spPr>
        <p:txBody>
          <a:bodyPr bIns="144000" rtlCol="0" anchor="ctr"/>
          <a:lstStyle/>
          <a:p>
            <a:pPr>
              <a:defRPr/>
            </a:pPr>
            <a:r>
              <a:rPr lang="de-DE" sz="2000" kern="0" baseline="-25000" dirty="0"/>
              <a:t>Direkter </a:t>
            </a:r>
          </a:p>
          <a:p>
            <a:pPr>
              <a:defRPr/>
            </a:pPr>
            <a:r>
              <a:rPr lang="de-DE" sz="2000" kern="0" baseline="-25000" dirty="0"/>
              <a:t>Restore</a:t>
            </a:r>
          </a:p>
        </p:txBody>
      </p:sp>
      <p:sp>
        <p:nvSpPr>
          <p:cNvPr id="30" name="Pentagon 137">
            <a:extLst>
              <a:ext uri="{FF2B5EF4-FFF2-40B4-BE49-F238E27FC236}">
                <a16:creationId xmlns:a16="http://schemas.microsoft.com/office/drawing/2014/main" id="{C3F37F0A-5CA4-E434-69D7-E3EDA0D84627}"/>
              </a:ext>
            </a:extLst>
          </p:cNvPr>
          <p:cNvSpPr/>
          <p:nvPr/>
        </p:nvSpPr>
        <p:spPr bwMode="auto">
          <a:xfrm>
            <a:off x="2643808" y="5023016"/>
            <a:ext cx="2147193" cy="325966"/>
          </a:xfrm>
          <a:prstGeom prst="homePlate">
            <a:avLst>
              <a:gd name="adj" fmla="val 40434"/>
            </a:avLst>
          </a:prstGeom>
          <a:noFill/>
          <a:ln w="6350" cap="flat" cmpd="sng" algn="ctr">
            <a:noFill/>
            <a:prstDash val="solid"/>
          </a:ln>
          <a:effectLst/>
        </p:spPr>
        <p:txBody>
          <a:bodyPr bIns="144000" rtlCol="0" anchor="ctr"/>
          <a:lstStyle/>
          <a:p>
            <a:pPr>
              <a:defRPr/>
            </a:pPr>
            <a:r>
              <a:rPr lang="de-DE" sz="2000" kern="0" baseline="-25000" dirty="0"/>
              <a:t>Instant &amp; </a:t>
            </a:r>
          </a:p>
          <a:p>
            <a:pPr>
              <a:defRPr/>
            </a:pPr>
            <a:r>
              <a:rPr lang="de-DE" sz="2000" kern="0" baseline="-25000" dirty="0"/>
              <a:t>direkter Restore</a:t>
            </a:r>
            <a:endParaRPr lang="en-US" sz="2000" kern="0" baseline="-25000" dirty="0"/>
          </a:p>
        </p:txBody>
      </p:sp>
      <p:pic>
        <p:nvPicPr>
          <p:cNvPr id="7" name="Graphic 6" descr="Notched Box with Shadow&#10;">
            <a:extLst>
              <a:ext uri="{FF2B5EF4-FFF2-40B4-BE49-F238E27FC236}">
                <a16:creationId xmlns:a16="http://schemas.microsoft.com/office/drawing/2014/main" id="{D386BEA2-6410-3900-5B1D-8F96B3CABD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805" r="-1234"/>
          <a:stretch/>
        </p:blipFill>
        <p:spPr>
          <a:xfrm>
            <a:off x="493385" y="3117793"/>
            <a:ext cx="1627916" cy="1526445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Graphic 4">
            <a:extLst>
              <a:ext uri="{FF2B5EF4-FFF2-40B4-BE49-F238E27FC236}">
                <a16:creationId xmlns:a16="http://schemas.microsoft.com/office/drawing/2014/main" id="{A4739803-255B-C484-B894-E5B788A1DF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5180" b="5180"/>
          <a:stretch/>
        </p:blipFill>
        <p:spPr>
          <a:xfrm>
            <a:off x="4146378" y="4176088"/>
            <a:ext cx="1569814" cy="1359566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pic>
        <p:nvPicPr>
          <p:cNvPr id="14" name="Graphic 4">
            <a:extLst>
              <a:ext uri="{FF2B5EF4-FFF2-40B4-BE49-F238E27FC236}">
                <a16:creationId xmlns:a16="http://schemas.microsoft.com/office/drawing/2014/main" id="{374D8EE5-78E7-FF87-3ADC-A291E2E3EE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357" b="4357"/>
          <a:stretch/>
        </p:blipFill>
        <p:spPr>
          <a:xfrm>
            <a:off x="4146378" y="2394727"/>
            <a:ext cx="1569814" cy="1384545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 8">
            <a:extLst>
              <a:ext uri="{FF2B5EF4-FFF2-40B4-BE49-F238E27FC236}">
                <a16:creationId xmlns:a16="http://schemas.microsoft.com/office/drawing/2014/main" id="{2648650C-A56B-F0D3-F7C3-F9EEC86A0D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38174" y="4362761"/>
            <a:ext cx="986221" cy="986221"/>
          </a:xfrm>
          <a:prstGeom prst="rect">
            <a:avLst/>
          </a:prstGeom>
        </p:spPr>
      </p:pic>
      <p:pic>
        <p:nvPicPr>
          <p:cNvPr id="17" name="Grafik 27">
            <a:extLst>
              <a:ext uri="{FF2B5EF4-FFF2-40B4-BE49-F238E27FC236}">
                <a16:creationId xmlns:a16="http://schemas.microsoft.com/office/drawing/2014/main" id="{9F7E8348-9C91-67D8-9476-0E5B8DC483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88863" y="2544578"/>
            <a:ext cx="1084843" cy="1084843"/>
          </a:xfrm>
          <a:prstGeom prst="rect">
            <a:avLst/>
          </a:prstGeom>
        </p:spPr>
      </p:pic>
      <p:pic>
        <p:nvPicPr>
          <p:cNvPr id="18" name="Grafik 5">
            <a:extLst>
              <a:ext uri="{FF2B5EF4-FFF2-40B4-BE49-F238E27FC236}">
                <a16:creationId xmlns:a16="http://schemas.microsoft.com/office/drawing/2014/main" id="{51548A08-0290-0E99-94BD-4DBF51EE23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4922" y="3338594"/>
            <a:ext cx="1084843" cy="1084843"/>
          </a:xfrm>
          <a:prstGeom prst="rect">
            <a:avLst/>
          </a:prstGeom>
        </p:spPr>
      </p:pic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630ED77A-FE7C-6E6C-418F-B3C584BCD5A8}"/>
              </a:ext>
            </a:extLst>
          </p:cNvPr>
          <p:cNvCxnSpPr>
            <a:stCxn id="7" idx="3"/>
            <a:endCxn id="14" idx="1"/>
          </p:cNvCxnSpPr>
          <p:nvPr/>
        </p:nvCxnSpPr>
        <p:spPr>
          <a:xfrm flipV="1">
            <a:off x="2121301" y="3087000"/>
            <a:ext cx="2025077" cy="794016"/>
          </a:xfrm>
          <a:prstGeom prst="bentConnector3">
            <a:avLst>
              <a:gd name="adj1" fmla="val 29147"/>
            </a:avLst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191F50A5-0E17-5CFD-11C7-837D4C05E717}"/>
              </a:ext>
            </a:extLst>
          </p:cNvPr>
          <p:cNvCxnSpPr>
            <a:stCxn id="7" idx="3"/>
            <a:endCxn id="13" idx="1"/>
          </p:cNvCxnSpPr>
          <p:nvPr/>
        </p:nvCxnSpPr>
        <p:spPr>
          <a:xfrm>
            <a:off x="2121301" y="3881016"/>
            <a:ext cx="2025077" cy="974855"/>
          </a:xfrm>
          <a:prstGeom prst="bentConnector3">
            <a:avLst>
              <a:gd name="adj1" fmla="val 29254"/>
            </a:avLst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60542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een trophy with a star and a check mark&#10;&#10;Description automatically generated">
            <a:extLst>
              <a:ext uri="{FF2B5EF4-FFF2-40B4-BE49-F238E27FC236}">
                <a16:creationId xmlns:a16="http://schemas.microsoft.com/office/drawing/2014/main" id="{6AE52C0B-5F37-DCAE-C4CF-5986EBD0C56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-1762" t="-7080" r="2124" b="-7080"/>
          <a:stretch/>
        </p:blipFill>
        <p:spPr>
          <a:xfrm>
            <a:off x="6210300" y="0"/>
            <a:ext cx="5981700" cy="6858000"/>
          </a:xfr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IT der XYZ GmbH im Wandel</a:t>
            </a:r>
            <a:endParaRPr lang="en-US" dirty="0"/>
          </a:p>
        </p:txBody>
      </p:sp>
      <p:sp>
        <p:nvSpPr>
          <p:cNvPr id="35" name="Inhaltsplatzhalter 34">
            <a:extLst>
              <a:ext uri="{FF2B5EF4-FFF2-40B4-BE49-F238E27FC236}">
                <a16:creationId xmlns:a16="http://schemas.microsoft.com/office/drawing/2014/main" id="{8F110E3D-110F-05F6-A56F-41D44D3ECFD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6120163" cy="4449380"/>
          </a:xfrm>
        </p:spPr>
        <p:txBody>
          <a:bodyPr/>
          <a:lstStyle/>
          <a:p>
            <a:r>
              <a:rPr lang="de-DE" dirty="0"/>
              <a:t>Wie können Systeme zu Cloud „B“ und auf </a:t>
            </a:r>
            <a:r>
              <a:rPr lang="de-DE" dirty="0" err="1"/>
              <a:t>Virtualisierungs</a:t>
            </a:r>
            <a:r>
              <a:rPr lang="de-DE" dirty="0"/>
              <a:t>-Lösung „C“ migriert werde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D15F"/>
                </a:solidFill>
                <a:sym typeface="Wingdings" panose="05000000000000000000" pitchFamily="2" charset="2"/>
              </a:rPr>
              <a:t>mit Veeam über Instant Recovery oder per direktem Restore</a:t>
            </a:r>
            <a:endParaRPr lang="de-DE" dirty="0">
              <a:solidFill>
                <a:srgbClr val="00D15F"/>
              </a:solidFill>
            </a:endParaRPr>
          </a:p>
          <a:p>
            <a:r>
              <a:rPr lang="de-DE" dirty="0"/>
              <a:t>Werden zusätzliche Backup-Lösungen benötig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D15F"/>
                </a:solidFill>
                <a:sym typeface="Wingdings" panose="05000000000000000000" pitchFamily="2" charset="2"/>
              </a:rPr>
              <a:t>Nein, wenn Plattform durch Veeam supported ist </a:t>
            </a:r>
            <a:endParaRPr lang="de-DE" dirty="0">
              <a:solidFill>
                <a:srgbClr val="00D15F"/>
              </a:solidFill>
            </a:endParaRPr>
          </a:p>
          <a:p>
            <a:r>
              <a:rPr lang="de-DE" dirty="0"/>
              <a:t>Können die Bestands-Backups noch wiederhergestellt werde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D15F"/>
                </a:solidFill>
                <a:sym typeface="Wingdings" panose="05000000000000000000" pitchFamily="2" charset="2"/>
              </a:rPr>
              <a:t>Ja, Wiederherstellungen sind unabhängig von der Ausgangsplattform möglich</a:t>
            </a:r>
            <a:endParaRPr lang="de-DE" dirty="0">
              <a:solidFill>
                <a:srgbClr val="00D15F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46237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een trophy with a star and a check mark&#10;&#10;Description automatically generated">
            <a:extLst>
              <a:ext uri="{FF2B5EF4-FFF2-40B4-BE49-F238E27FC236}">
                <a16:creationId xmlns:a16="http://schemas.microsoft.com/office/drawing/2014/main" id="{6AE52C0B-5F37-DCAE-C4CF-5986EBD0C56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-1762" t="-7080" r="2124" b="-7080"/>
          <a:stretch/>
        </p:blipFill>
        <p:spPr>
          <a:xfrm>
            <a:off x="6210300" y="0"/>
            <a:ext cx="5981700" cy="6858000"/>
          </a:xfr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246" y="342900"/>
            <a:ext cx="9614718" cy="682625"/>
          </a:xfrm>
        </p:spPr>
        <p:txBody>
          <a:bodyPr/>
          <a:lstStyle/>
          <a:p>
            <a:r>
              <a:rPr lang="de-DE" dirty="0"/>
              <a:t>Hypervisor Support durch </a:t>
            </a:r>
            <a:r>
              <a:rPr lang="de-DE" dirty="0">
                <a:solidFill>
                  <a:srgbClr val="FE8A25"/>
                </a:solidFill>
              </a:rPr>
              <a:t>Thomas-Krenn.AG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5" name="Inhaltsplatzhalter 34">
            <a:extLst>
              <a:ext uri="{FF2B5EF4-FFF2-40B4-BE49-F238E27FC236}">
                <a16:creationId xmlns:a16="http://schemas.microsoft.com/office/drawing/2014/main" id="{8F110E3D-110F-05F6-A56F-41D44D3ECFD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713" y="1693718"/>
            <a:ext cx="6120163" cy="4472734"/>
          </a:xfrm>
        </p:spPr>
        <p:txBody>
          <a:bodyPr/>
          <a:lstStyle/>
          <a:p>
            <a:r>
              <a:rPr lang="de-DE" dirty="0">
                <a:solidFill>
                  <a:srgbClr val="FE8A25"/>
                </a:solidFill>
              </a:rPr>
              <a:t>Thomas-Krenn.AG </a:t>
            </a:r>
            <a:r>
              <a:rPr lang="de-DE" dirty="0"/>
              <a:t>unterstützt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icrosoft Hyper-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Proxmox</a:t>
            </a:r>
            <a:r>
              <a:rPr lang="de-DE" dirty="0"/>
              <a:t> 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VMware </a:t>
            </a:r>
            <a:r>
              <a:rPr lang="de-DE" dirty="0" err="1"/>
              <a:t>ESX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09600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gibt es noch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02946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980FBCFB-4346-6696-B55B-D97764E1C686}"/>
              </a:ext>
            </a:extLst>
          </p:cNvPr>
          <p:cNvGrpSpPr/>
          <p:nvPr/>
        </p:nvGrpSpPr>
        <p:grpSpPr>
          <a:xfrm>
            <a:off x="7202589" y="3246685"/>
            <a:ext cx="1217673" cy="1174840"/>
            <a:chOff x="7663248" y="2590008"/>
            <a:chExt cx="913255" cy="881130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7278FB4E-A964-3295-8AEF-DD101AE93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63248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0DCF9B15-D211-01BC-2506-798715635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874914" y="2773727"/>
              <a:ext cx="523454" cy="523454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1BFA6E9-11A3-AE79-E35E-7781F9DBEFAC}"/>
              </a:ext>
            </a:extLst>
          </p:cNvPr>
          <p:cNvGrpSpPr/>
          <p:nvPr/>
        </p:nvGrpSpPr>
        <p:grpSpPr>
          <a:xfrm>
            <a:off x="667356" y="3246685"/>
            <a:ext cx="1217673" cy="1174840"/>
            <a:chOff x="561319" y="2590008"/>
            <a:chExt cx="913255" cy="881130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0120AF0C-3821-C1C4-2541-73B580081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1319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FDFC4E7D-ACE6-F313-4018-6D4918331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31244" y="2752685"/>
              <a:ext cx="565538" cy="565538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97B7120-1CD5-41C7-E081-BEF5FB30144B}"/>
              </a:ext>
            </a:extLst>
          </p:cNvPr>
          <p:cNvGrpSpPr/>
          <p:nvPr/>
        </p:nvGrpSpPr>
        <p:grpSpPr>
          <a:xfrm>
            <a:off x="2292852" y="3246685"/>
            <a:ext cx="1217673" cy="1174840"/>
            <a:chOff x="2366319" y="2590008"/>
            <a:chExt cx="913255" cy="881130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F2B539F-3C97-16F8-9481-4BCE5BBEC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66319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8D09292A-698D-D7D1-9A0D-2ED5CB44FC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525945" y="2752685"/>
              <a:ext cx="567000" cy="56700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CDD9AA3-1BE4-DF1C-AE4D-AC7EC11AB11A}"/>
              </a:ext>
            </a:extLst>
          </p:cNvPr>
          <p:cNvGrpSpPr/>
          <p:nvPr/>
        </p:nvGrpSpPr>
        <p:grpSpPr>
          <a:xfrm>
            <a:off x="5571554" y="3246685"/>
            <a:ext cx="1217673" cy="1174840"/>
            <a:chOff x="5914768" y="2590008"/>
            <a:chExt cx="913255" cy="881130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69E0EC97-DC57-689F-F811-ECE95BB7F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14768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9C3C77D8-4B50-3206-C010-7862AA07F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6084163" y="2751954"/>
              <a:ext cx="566999" cy="5670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08D09C-1762-4E88-4AAB-87FE271FC327}"/>
              </a:ext>
            </a:extLst>
          </p:cNvPr>
          <p:cNvGrpSpPr/>
          <p:nvPr/>
        </p:nvGrpSpPr>
        <p:grpSpPr>
          <a:xfrm>
            <a:off x="3611027" y="2936212"/>
            <a:ext cx="1635063" cy="1485313"/>
            <a:chOff x="3880039" y="2357153"/>
            <a:chExt cx="1226297" cy="1113985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E931440-385B-8830-EF8B-E8C6D90E6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27157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79D5A8B-4D7E-1FA6-8A38-5290CA80B7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4306672" y="2754628"/>
              <a:ext cx="540000" cy="540000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F32A3C8-8846-44C9-4C62-3F3D62DF01F5}"/>
                </a:ext>
              </a:extLst>
            </p:cNvPr>
            <p:cNvSpPr txBox="1"/>
            <p:nvPr/>
          </p:nvSpPr>
          <p:spPr>
            <a:xfrm>
              <a:off x="3880039" y="2357153"/>
              <a:ext cx="1226297" cy="15384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333" dirty="0">
                  <a:solidFill>
                    <a:schemeClr val="bg1"/>
                  </a:solidFill>
                  <a:latin typeface="ES Build Neutral" pitchFamily="2" charset="77"/>
                </a:rPr>
                <a:t>Veeam Data Platform</a:t>
              </a:r>
              <a:endParaRPr lang="ru-RU" sz="1333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5B74BE7-E5FF-A9F1-286F-75199462BBD0}"/>
              </a:ext>
            </a:extLst>
          </p:cNvPr>
          <p:cNvGrpSpPr/>
          <p:nvPr/>
        </p:nvGrpSpPr>
        <p:grpSpPr>
          <a:xfrm>
            <a:off x="618680" y="4546677"/>
            <a:ext cx="1273832" cy="609876"/>
            <a:chOff x="683591" y="3582301"/>
            <a:chExt cx="955374" cy="457406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FBB2228-D2B9-BF49-7511-CB734D5C869D}"/>
                </a:ext>
              </a:extLst>
            </p:cNvPr>
            <p:cNvSpPr txBox="1"/>
            <p:nvPr/>
          </p:nvSpPr>
          <p:spPr>
            <a:xfrm>
              <a:off x="683591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Identify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D0F0B8E-2E57-85F9-C45E-34CD45982D6F}"/>
                </a:ext>
              </a:extLst>
            </p:cNvPr>
            <p:cNvSpPr txBox="1"/>
            <p:nvPr/>
          </p:nvSpPr>
          <p:spPr>
            <a:xfrm>
              <a:off x="720098" y="3624209"/>
              <a:ext cx="918867" cy="41549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 err="1"/>
                <a:t>Freiheit</a:t>
              </a:r>
              <a:r>
                <a:rPr lang="en-US" sz="1200" dirty="0"/>
                <a:t> </a:t>
              </a:r>
              <a:r>
                <a:rPr lang="en-US" sz="1200" dirty="0" err="1"/>
                <a:t>bei</a:t>
              </a:r>
              <a:r>
                <a:rPr lang="en-US" sz="1200" dirty="0"/>
                <a:t> Wahl von </a:t>
              </a:r>
              <a:r>
                <a:rPr lang="en-US" sz="1200" dirty="0" err="1"/>
                <a:t>Herstellern</a:t>
              </a:r>
              <a:endParaRPr lang="en-US" sz="1200" dirty="0"/>
            </a:p>
            <a:p>
              <a:r>
                <a:rPr lang="en-US" sz="1200" dirty="0"/>
                <a:t>und </a:t>
              </a:r>
              <a:r>
                <a:rPr lang="en-US" sz="1200" dirty="0" err="1"/>
                <a:t>Technologien</a:t>
              </a:r>
              <a:endParaRPr lang="en-US" sz="1200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D877701-B4BE-5968-8DCC-C1F44C8E68CC}"/>
              </a:ext>
            </a:extLst>
          </p:cNvPr>
          <p:cNvGrpSpPr/>
          <p:nvPr/>
        </p:nvGrpSpPr>
        <p:grpSpPr>
          <a:xfrm>
            <a:off x="2280097" y="4546676"/>
            <a:ext cx="1232814" cy="792003"/>
            <a:chOff x="2419637" y="3582301"/>
            <a:chExt cx="924611" cy="594002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40EAE8A-9166-F9AB-0F79-B19208EAF63B}"/>
                </a:ext>
              </a:extLst>
            </p:cNvPr>
            <p:cNvSpPr txBox="1"/>
            <p:nvPr/>
          </p:nvSpPr>
          <p:spPr>
            <a:xfrm>
              <a:off x="2424292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Protec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6A69955-1816-8B99-399C-2A8BC793F78E}"/>
                </a:ext>
              </a:extLst>
            </p:cNvPr>
            <p:cNvSpPr txBox="1"/>
            <p:nvPr/>
          </p:nvSpPr>
          <p:spPr>
            <a:xfrm>
              <a:off x="2419637" y="3622305"/>
              <a:ext cx="924611" cy="55399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/>
                <a:t>Disaster Recovery </a:t>
              </a:r>
              <a:r>
                <a:rPr lang="en-US" sz="1200" dirty="0" err="1"/>
                <a:t>über</a:t>
              </a:r>
              <a:r>
                <a:rPr lang="en-US" sz="1200" dirty="0"/>
                <a:t> </a:t>
              </a:r>
              <a:r>
                <a:rPr lang="en-US" sz="1200" dirty="0" err="1"/>
                <a:t>verschiedene</a:t>
              </a:r>
              <a:r>
                <a:rPr lang="en-US" sz="1200" dirty="0"/>
                <a:t> </a:t>
              </a:r>
            </a:p>
            <a:p>
              <a:r>
                <a:rPr lang="en-US" sz="1200" dirty="0" err="1"/>
                <a:t>Plattformen</a:t>
              </a:r>
              <a:r>
                <a:rPr lang="en-US" sz="1200" dirty="0"/>
                <a:t> und Clouds </a:t>
              </a:r>
              <a:r>
                <a:rPr lang="en-US" sz="1200" dirty="0" err="1"/>
                <a:t>hinweg</a:t>
              </a:r>
              <a:endParaRPr lang="en-US" sz="1200" dirty="0"/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4691189D-8CD4-9449-E635-C13AE4AE9720}"/>
              </a:ext>
            </a:extLst>
          </p:cNvPr>
          <p:cNvSpPr txBox="1"/>
          <p:nvPr/>
        </p:nvSpPr>
        <p:spPr>
          <a:xfrm>
            <a:off x="5042390" y="5321283"/>
            <a:ext cx="2101857" cy="420756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r>
              <a:rPr lang="en-US" sz="1067" dirty="0">
                <a:solidFill>
                  <a:schemeClr val="bg1"/>
                </a:solidFill>
                <a:latin typeface="ES Build Neutral" pitchFamily="2" charset="77"/>
              </a:rPr>
              <a:t>Monitoring &amp; Alerts</a:t>
            </a:r>
          </a:p>
          <a:p>
            <a:r>
              <a:rPr lang="en-US" sz="1067" dirty="0">
                <a:solidFill>
                  <a:schemeClr val="bg1"/>
                </a:solidFill>
                <a:latin typeface="ES Build Neutral" pitchFamily="2" charset="77"/>
              </a:rPr>
              <a:t>Post-process malware detecti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E6C99F6-DDDD-85B8-140B-76F73046B049}"/>
              </a:ext>
            </a:extLst>
          </p:cNvPr>
          <p:cNvGrpSpPr/>
          <p:nvPr/>
        </p:nvGrpSpPr>
        <p:grpSpPr>
          <a:xfrm>
            <a:off x="5319352" y="4546675"/>
            <a:ext cx="1515455" cy="425209"/>
            <a:chOff x="5953980" y="3582301"/>
            <a:chExt cx="1136591" cy="318907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4145FE9-6247-0805-06DB-620D34256C87}"/>
                </a:ext>
              </a:extLst>
            </p:cNvPr>
            <p:cNvSpPr txBox="1"/>
            <p:nvPr/>
          </p:nvSpPr>
          <p:spPr>
            <a:xfrm>
              <a:off x="5953980" y="3582301"/>
              <a:ext cx="779071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Respond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6D33BEE2-625B-E620-E5F3-A88247900CE9}"/>
                </a:ext>
              </a:extLst>
            </p:cNvPr>
            <p:cNvSpPr txBox="1"/>
            <p:nvPr/>
          </p:nvSpPr>
          <p:spPr>
            <a:xfrm>
              <a:off x="6139589" y="3624209"/>
              <a:ext cx="950982" cy="276999"/>
            </a:xfrm>
            <a:prstGeom prst="rect">
              <a:avLst/>
            </a:prstGeom>
          </p:spPr>
          <p:txBody>
            <a:bodyPr wrap="none" lIns="0" tIns="0" rIns="0" bIns="0" rtlCol="0" anchor="t">
              <a:spAutoFit/>
            </a:bodyPr>
            <a:lstStyle/>
            <a:p>
              <a:r>
                <a:rPr lang="en-US" sz="1200" dirty="0"/>
                <a:t>Test &amp; </a:t>
              </a:r>
              <a:r>
                <a:rPr lang="en-US" sz="1200" dirty="0" err="1"/>
                <a:t>Entwicklung</a:t>
              </a:r>
              <a:endParaRPr lang="en-US" sz="1200" dirty="0"/>
            </a:p>
            <a:p>
              <a:r>
                <a:rPr lang="en-US" sz="1200" dirty="0"/>
                <a:t>“Data Reuse”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BFEE397-08CE-2BA6-453A-A1E3EF74FD5D}"/>
              </a:ext>
            </a:extLst>
          </p:cNvPr>
          <p:cNvGrpSpPr/>
          <p:nvPr/>
        </p:nvGrpSpPr>
        <p:grpSpPr>
          <a:xfrm>
            <a:off x="6903240" y="4546672"/>
            <a:ext cx="1563390" cy="607336"/>
            <a:chOff x="7742399" y="3582301"/>
            <a:chExt cx="1172543" cy="455502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9F2F660-EF72-F991-3EC8-6200A02BFF36}"/>
                </a:ext>
              </a:extLst>
            </p:cNvPr>
            <p:cNvSpPr txBox="1"/>
            <p:nvPr/>
          </p:nvSpPr>
          <p:spPr>
            <a:xfrm>
              <a:off x="7742399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Recover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B46D317-4F26-6C03-AB18-0C84E3B97784}"/>
                </a:ext>
              </a:extLst>
            </p:cNvPr>
            <p:cNvSpPr txBox="1"/>
            <p:nvPr/>
          </p:nvSpPr>
          <p:spPr>
            <a:xfrm>
              <a:off x="7963960" y="3622305"/>
              <a:ext cx="950982" cy="41549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 err="1"/>
                <a:t>Investitions</a:t>
              </a:r>
              <a:r>
                <a:rPr lang="en-US" sz="1200" dirty="0"/>
                <a:t>-Schutz </a:t>
              </a:r>
              <a:r>
                <a:rPr lang="en-US" sz="1200" dirty="0" err="1"/>
                <a:t>über</a:t>
              </a:r>
              <a:r>
                <a:rPr lang="en-US" sz="1200" dirty="0"/>
                <a:t> flexible </a:t>
              </a:r>
              <a:r>
                <a:rPr lang="en-US" sz="1200" dirty="0" err="1"/>
                <a:t>Lizenzierung</a:t>
              </a:r>
              <a:endParaRPr lang="en-US" sz="1200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8B44086-E5F8-7EB1-AAD2-593E28D3F44E}"/>
              </a:ext>
            </a:extLst>
          </p:cNvPr>
          <p:cNvGrpSpPr/>
          <p:nvPr/>
        </p:nvGrpSpPr>
        <p:grpSpPr>
          <a:xfrm>
            <a:off x="3713245" y="4546675"/>
            <a:ext cx="1429887" cy="609876"/>
            <a:chOff x="4159518" y="3582301"/>
            <a:chExt cx="1072415" cy="457407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0DA7BE3-06AC-7350-57D1-1BA5E9E737F1}"/>
                </a:ext>
              </a:extLst>
            </p:cNvPr>
            <p:cNvSpPr txBox="1"/>
            <p:nvPr/>
          </p:nvSpPr>
          <p:spPr>
            <a:xfrm>
              <a:off x="4159518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Detect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EBA6141-CD9A-D218-5311-631D8D91C3F7}"/>
                </a:ext>
              </a:extLst>
            </p:cNvPr>
            <p:cNvSpPr txBox="1"/>
            <p:nvPr/>
          </p:nvSpPr>
          <p:spPr>
            <a:xfrm>
              <a:off x="4327041" y="3624209"/>
              <a:ext cx="904892" cy="4154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 err="1"/>
                <a:t>Migrieren</a:t>
              </a:r>
              <a:r>
                <a:rPr lang="en-US" sz="1200" dirty="0"/>
                <a:t> von Workloads und </a:t>
              </a:r>
            </a:p>
            <a:p>
              <a:r>
                <a:rPr lang="en-US" sz="1200" dirty="0"/>
                <a:t>Exit-</a:t>
              </a:r>
              <a:r>
                <a:rPr lang="en-US" sz="1200" dirty="0" err="1"/>
                <a:t>Strategie</a:t>
              </a:r>
              <a:endParaRPr lang="en-US" sz="1200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657AB6A1-1C8C-06EF-0AD6-13E419F86B5D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4393629" y="40666"/>
            <a:ext cx="3542075" cy="3544438"/>
          </a:xfrm>
          <a:prstGeom prst="rect">
            <a:avLst/>
          </a:prstGeom>
        </p:spPr>
      </p:pic>
      <p:sp>
        <p:nvSpPr>
          <p:cNvPr id="7" name="bg image">
            <a:extLst>
              <a:ext uri="{FF2B5EF4-FFF2-40B4-BE49-F238E27FC236}">
                <a16:creationId xmlns:a16="http://schemas.microsoft.com/office/drawing/2014/main" id="{E4394D8F-A8C2-2914-CEDA-729BA5F77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3" y="342901"/>
            <a:ext cx="11202987" cy="682625"/>
          </a:xfrm>
        </p:spPr>
        <p:txBody>
          <a:bodyPr/>
          <a:lstStyle/>
          <a:p>
            <a:r>
              <a:rPr lang="en-US" sz="3200" dirty="0" err="1"/>
              <a:t>Weitere</a:t>
            </a:r>
            <a:r>
              <a:rPr lang="en-US" sz="3200" dirty="0"/>
              <a:t> </a:t>
            </a:r>
            <a:r>
              <a:rPr lang="en-US" sz="3200" dirty="0" err="1"/>
              <a:t>Szenarien</a:t>
            </a:r>
            <a:endParaRPr lang="en-US" sz="3200" dirty="0">
              <a:solidFill>
                <a:srgbClr val="505861"/>
              </a:solidFill>
              <a:latin typeface="ES Build Neutral" pitchFamily="2" charset="77"/>
              <a:ea typeface="ES Build Neutral" pitchFamily="2" charset="77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5C9441-45CF-72B3-F437-AE5DEE75BC33}"/>
              </a:ext>
            </a:extLst>
          </p:cNvPr>
          <p:cNvCxnSpPr/>
          <p:nvPr/>
        </p:nvCxnSpPr>
        <p:spPr>
          <a:xfrm>
            <a:off x="946787" y="3046969"/>
            <a:ext cx="10296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headEnd type="none" w="med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A31CD0B-498B-5DAF-6D1F-1F39FC6939F3}"/>
              </a:ext>
            </a:extLst>
          </p:cNvPr>
          <p:cNvGrpSpPr/>
          <p:nvPr/>
        </p:nvGrpSpPr>
        <p:grpSpPr>
          <a:xfrm>
            <a:off x="8833624" y="3246685"/>
            <a:ext cx="1217673" cy="1174840"/>
            <a:chOff x="7663248" y="2590008"/>
            <a:chExt cx="913255" cy="881130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A162F820-FDD8-A6C3-9705-B9B414A7C2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63248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69739C19-6DBB-8114-A35F-0846940B8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7874914" y="2773727"/>
              <a:ext cx="523454" cy="523454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52D6C8-B21F-F256-A27E-784F977EAA62}"/>
              </a:ext>
            </a:extLst>
          </p:cNvPr>
          <p:cNvGrpSpPr/>
          <p:nvPr/>
        </p:nvGrpSpPr>
        <p:grpSpPr>
          <a:xfrm>
            <a:off x="8438423" y="4546677"/>
            <a:ext cx="1816032" cy="422670"/>
            <a:chOff x="7742399" y="3582301"/>
            <a:chExt cx="1590462" cy="31700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916759D-1C34-881D-78B1-991F7647116D}"/>
                </a:ext>
              </a:extLst>
            </p:cNvPr>
            <p:cNvSpPr txBox="1"/>
            <p:nvPr/>
          </p:nvSpPr>
          <p:spPr>
            <a:xfrm>
              <a:off x="7742399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Recover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A50B8ED-F816-2632-610B-7FB7A6C9887F}"/>
                </a:ext>
              </a:extLst>
            </p:cNvPr>
            <p:cNvSpPr txBox="1"/>
            <p:nvPr/>
          </p:nvSpPr>
          <p:spPr>
            <a:xfrm>
              <a:off x="8085758" y="3622304"/>
              <a:ext cx="1247103" cy="2769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/>
                <a:t>Instant Recovery,</a:t>
              </a:r>
            </a:p>
            <a:p>
              <a:r>
                <a:rPr lang="en-US" sz="1200" dirty="0" err="1"/>
                <a:t>nicht</a:t>
              </a:r>
              <a:r>
                <a:rPr lang="en-US" sz="1200" dirty="0"/>
                <a:t> </a:t>
              </a:r>
              <a:r>
                <a:rPr lang="en-US" sz="1200" dirty="0" err="1"/>
                <a:t>nur</a:t>
              </a:r>
              <a:r>
                <a:rPr lang="en-US" sz="1200" dirty="0"/>
                <a:t> für </a:t>
              </a:r>
              <a:r>
                <a:rPr lang="en-US" sz="1200" dirty="0" err="1"/>
                <a:t>Systeme</a:t>
              </a:r>
              <a:endParaRPr lang="en-US" sz="1200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6C85A9F-B594-63F7-889E-C06764F5AA94}"/>
              </a:ext>
            </a:extLst>
          </p:cNvPr>
          <p:cNvGrpSpPr/>
          <p:nvPr/>
        </p:nvGrpSpPr>
        <p:grpSpPr>
          <a:xfrm>
            <a:off x="10464659" y="3246685"/>
            <a:ext cx="1217673" cy="1174840"/>
            <a:chOff x="7663248" y="2590008"/>
            <a:chExt cx="913255" cy="881130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9B3CD053-2A09-D9B6-8D7A-534D45295E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63248" y="2590008"/>
              <a:ext cx="913255" cy="881130"/>
            </a:xfrm>
            <a:prstGeom prst="rect">
              <a:avLst/>
            </a:prstGeom>
            <a:effectLst>
              <a:outerShdw blurRad="269180" dist="38100" dir="2700000" sx="101000" sy="101000" algn="tl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E3B7AD3D-F315-5493-3296-0A2E23A5E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/>
          </p:blipFill>
          <p:spPr>
            <a:xfrm>
              <a:off x="7836376" y="2752457"/>
              <a:ext cx="566999" cy="567000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91C34FA-950B-ACAD-6340-400AED8D08E6}"/>
              </a:ext>
            </a:extLst>
          </p:cNvPr>
          <p:cNvGrpSpPr/>
          <p:nvPr/>
        </p:nvGrpSpPr>
        <p:grpSpPr>
          <a:xfrm>
            <a:off x="10143497" y="4546673"/>
            <a:ext cx="1566018" cy="792004"/>
            <a:chOff x="7742399" y="3582301"/>
            <a:chExt cx="1174514" cy="59400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78F88D0-C82F-D302-CB15-242B33BD2ED7}"/>
                </a:ext>
              </a:extLst>
            </p:cNvPr>
            <p:cNvSpPr txBox="1"/>
            <p:nvPr/>
          </p:nvSpPr>
          <p:spPr>
            <a:xfrm>
              <a:off x="7742399" y="3582301"/>
              <a:ext cx="733197" cy="2154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ES Build Neutral" pitchFamily="2" charset="77"/>
                </a:rPr>
                <a:t>Recover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52AA2A3-4CB5-0D40-AD0E-F7C03A907794}"/>
                </a:ext>
              </a:extLst>
            </p:cNvPr>
            <p:cNvSpPr txBox="1"/>
            <p:nvPr/>
          </p:nvSpPr>
          <p:spPr>
            <a:xfrm>
              <a:off x="7983269" y="3622306"/>
              <a:ext cx="933644" cy="55399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US" sz="1200" dirty="0" err="1"/>
                <a:t>Beschleunigte</a:t>
              </a:r>
              <a:r>
                <a:rPr lang="en-US" sz="1200" dirty="0"/>
                <a:t> </a:t>
              </a:r>
              <a:r>
                <a:rPr lang="en-US" sz="1200" dirty="0" err="1"/>
                <a:t>Anpassung</a:t>
              </a:r>
              <a:r>
                <a:rPr lang="en-US" sz="1200" dirty="0"/>
                <a:t> an</a:t>
              </a:r>
            </a:p>
            <a:p>
              <a:r>
                <a:rPr lang="en-US" sz="1200" dirty="0" err="1"/>
                <a:t>geänderte</a:t>
              </a:r>
              <a:r>
                <a:rPr lang="en-US" sz="1200" dirty="0"/>
                <a:t> </a:t>
              </a:r>
              <a:r>
                <a:rPr lang="en-US" sz="1200" dirty="0" err="1"/>
                <a:t>Anforderungen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8123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4.79167E-6 0.03889 L -4.79167E-6 2.59259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77556E-17 0.03889 L 2.77556E-17 -1.85185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04167E-6 0.03889 L -1.04167E-6 2.59259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5E-6 0.03889 L 2.5E-6 -1.48148E-6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1.66667E-6 0.03888 L 1.66667E-6 4.07407E-6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2.70833E-6 -0.03496 L 2.70833E-6 2.22222E-6 " pathEditMode="relative" rAng="0" ptsTypes="AA">
                                      <p:cBhvr>
                                        <p:cTn id="4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-6.25E-7 -0.03496 L -6.25E-7 2.22222E-6 " pathEditMode="relative" rAng="0" ptsTypes="AA">
                                      <p:cBhvr>
                                        <p:cTn id="4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25E-6 -0.03495 L -1.25E-6 -2.59259E-6 " pathEditMode="relative" rAng="0" ptsTypes="AA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1.04167E-6 -0.03496 L -1.04167E-6 2.22222E-6 " pathEditMode="relative" rAng="0" ptsTypes="AA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path" presetSubtype="0" decel="10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5E-6 -0.03496 L 5E-6 2.22222E-6 " pathEditMode="relative" rAng="0" ptsTypes="AA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3.54167E-6 0.03889 L 3.54167E-6 2.22045E-16 " pathEditMode="relative" rAng="0" ptsTypes="AA">
                                      <p:cBhvr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42" presetClass="path" presetSubtype="0" decel="10000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8.33333E-7 -0.03496 L 8.33333E-7 2.22222E-6 " pathEditMode="relative" rAng="0" ptsTypes="AA">
                                      <p:cBhvr>
                                        <p:cTn id="7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42" presetClass="path" presetSubtype="0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3.95833E-6 0.03889 L -3.95833E-6 -1.85185E-6 " pathEditMode="relative" rAng="0" ptsTypes="AA">
                                      <p:cBhvr>
                                        <p:cTn id="7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decel="100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3.125E-6 -0.03496 L -3.125E-6 2.22222E-6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computer screen shot of a computer&#10;&#10;Description automatically generated">
            <a:extLst>
              <a:ext uri="{FF2B5EF4-FFF2-40B4-BE49-F238E27FC236}">
                <a16:creationId xmlns:a16="http://schemas.microsoft.com/office/drawing/2014/main" id="{882AE248-B633-42C6-0433-933C1CF8AC4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6389" r="6389"/>
          <a:stretch>
            <a:fillRect/>
          </a:stretch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ein Vendor Lock-I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eeam ist eine „reine“ Software Lösung</a:t>
            </a:r>
          </a:p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3250CF2-9D95-6945-BF55-2FAA93E215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712" y="2144387"/>
            <a:ext cx="5315230" cy="3681006"/>
          </a:xfrm>
        </p:spPr>
        <p:txBody>
          <a:bodyPr/>
          <a:lstStyle/>
          <a:p>
            <a:r>
              <a:rPr lang="de-DE" dirty="0"/>
              <a:t>Wechsel von Server- und Storage-Produkten</a:t>
            </a:r>
          </a:p>
          <a:p>
            <a:r>
              <a:rPr lang="de-DE" dirty="0"/>
              <a:t>Wechsel der Speicher-Technologie</a:t>
            </a:r>
          </a:p>
          <a:p>
            <a:pPr lvl="1"/>
            <a:r>
              <a:rPr lang="de-DE" dirty="0"/>
              <a:t>Block -&gt; Objekt Speicher</a:t>
            </a:r>
          </a:p>
          <a:p>
            <a:pPr lvl="1"/>
            <a:r>
              <a:rPr lang="de-DE" dirty="0"/>
              <a:t>On-</a:t>
            </a:r>
            <a:r>
              <a:rPr lang="de-DE" dirty="0" err="1"/>
              <a:t>Premises</a:t>
            </a:r>
            <a:r>
              <a:rPr lang="de-DE" dirty="0"/>
              <a:t> -&gt; Cloud</a:t>
            </a:r>
          </a:p>
          <a:p>
            <a:pPr lvl="1"/>
            <a:r>
              <a:rPr lang="de-DE" dirty="0" err="1"/>
              <a:t>Deduplication</a:t>
            </a:r>
            <a:r>
              <a:rPr lang="de-DE" dirty="0"/>
              <a:t> Appliance</a:t>
            </a:r>
          </a:p>
          <a:p>
            <a:pPr marL="0" lvl="1" indent="0">
              <a:spcBef>
                <a:spcPts val="1200"/>
              </a:spcBef>
              <a:spcAft>
                <a:spcPts val="600"/>
              </a:spcAft>
              <a:buFont typeface="Calibri" panose="020F0502020204030204" pitchFamily="34" charset="0"/>
              <a:buChar char="​"/>
            </a:pPr>
            <a:r>
              <a:rPr lang="de-DE" dirty="0"/>
              <a:t>Wechsel von Cloud- und </a:t>
            </a:r>
            <a:r>
              <a:rPr lang="de-DE" dirty="0" err="1"/>
              <a:t>Virtualisierungs</a:t>
            </a:r>
            <a:r>
              <a:rPr lang="de-DE" dirty="0"/>
              <a:t>-Hersteller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171300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2361510"/>
            <a:ext cx="2859087" cy="2134979"/>
          </a:xfrm>
        </p:spPr>
        <p:txBody>
          <a:bodyPr/>
          <a:lstStyle/>
          <a:p>
            <a:r>
              <a:rPr lang="de-DE" dirty="0"/>
              <a:t>Kein Vendor Lock-In</a:t>
            </a: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3250CF2-9D95-6945-BF55-2FAA93E215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78367" y="2069322"/>
            <a:ext cx="4718493" cy="1837290"/>
          </a:xfrm>
        </p:spPr>
        <p:txBody>
          <a:bodyPr/>
          <a:lstStyle/>
          <a:p>
            <a:r>
              <a:rPr lang="en-US" dirty="0"/>
              <a:t>Zugriff auf Backup-</a:t>
            </a:r>
            <a:r>
              <a:rPr lang="en-US" dirty="0" err="1"/>
              <a:t>Daten</a:t>
            </a:r>
            <a:r>
              <a:rPr lang="en-US" dirty="0"/>
              <a:t> </a:t>
            </a:r>
            <a:r>
              <a:rPr lang="en-US" dirty="0" err="1"/>
              <a:t>auch</a:t>
            </a:r>
            <a:r>
              <a:rPr lang="en-US" dirty="0"/>
              <a:t> </a:t>
            </a:r>
            <a:r>
              <a:rPr lang="en-US" dirty="0" err="1"/>
              <a:t>ohne</a:t>
            </a:r>
            <a:r>
              <a:rPr lang="en-US" dirty="0"/>
              <a:t> </a:t>
            </a:r>
            <a:r>
              <a:rPr lang="en-US" dirty="0" err="1"/>
              <a:t>aktive</a:t>
            </a:r>
            <a:r>
              <a:rPr lang="en-US" dirty="0"/>
              <a:t> Veeam Installation </a:t>
            </a:r>
            <a:r>
              <a:rPr lang="en-US" dirty="0" err="1"/>
              <a:t>möglich</a:t>
            </a:r>
            <a:endParaRPr lang="en-US" dirty="0"/>
          </a:p>
          <a:p>
            <a:pPr lvl="1">
              <a:spcAft>
                <a:spcPts val="600"/>
              </a:spcAft>
            </a:pPr>
            <a:r>
              <a:rPr lang="en-US" sz="2100" dirty="0" err="1"/>
              <a:t>Eigenständiges</a:t>
            </a:r>
            <a:r>
              <a:rPr lang="en-US" sz="2100" dirty="0"/>
              <a:t> Backup </a:t>
            </a:r>
            <a:r>
              <a:rPr lang="en-US" sz="2100" dirty="0" err="1"/>
              <a:t>Dateiformat</a:t>
            </a:r>
            <a:endParaRPr lang="en-US" sz="2100" dirty="0"/>
          </a:p>
          <a:p>
            <a:pPr lvl="1">
              <a:spcAft>
                <a:spcPts val="600"/>
              </a:spcAft>
            </a:pPr>
            <a:r>
              <a:rPr lang="en-US" sz="2100" dirty="0"/>
              <a:t>Extract Utility</a:t>
            </a:r>
          </a:p>
          <a:p>
            <a:pPr lvl="1">
              <a:spcAft>
                <a:spcPts val="600"/>
              </a:spcAft>
            </a:pPr>
            <a:r>
              <a:rPr lang="en-US" sz="2100" dirty="0"/>
              <a:t>Community Edition</a:t>
            </a:r>
          </a:p>
          <a:p>
            <a:pPr lvl="1">
              <a:spcAft>
                <a:spcPts val="600"/>
              </a:spcAft>
            </a:pPr>
            <a:endParaRPr lang="en-US" dirty="0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138F4273-6C09-8AAF-3EEF-C3A8F466DDEC}"/>
              </a:ext>
            </a:extLst>
          </p:cNvPr>
          <p:cNvSpPr/>
          <p:nvPr/>
        </p:nvSpPr>
        <p:spPr>
          <a:xfrm>
            <a:off x="4298447" y="2069322"/>
            <a:ext cx="1690048" cy="1773150"/>
          </a:xfrm>
          <a:custGeom>
            <a:avLst/>
            <a:gdLst>
              <a:gd name="connsiteX0" fmla="*/ 0 w 2665497"/>
              <a:gd name="connsiteY0" fmla="*/ 2272822 h 2796565"/>
              <a:gd name="connsiteX1" fmla="*/ 0 w 2665497"/>
              <a:gd name="connsiteY1" fmla="*/ 2411821 h 2796565"/>
              <a:gd name="connsiteX2" fmla="*/ 2452 w 2665497"/>
              <a:gd name="connsiteY2" fmla="*/ 2436339 h 2796565"/>
              <a:gd name="connsiteX3" fmla="*/ 9053 w 2665497"/>
              <a:gd name="connsiteY3" fmla="*/ 2469344 h 2796565"/>
              <a:gd name="connsiteX4" fmla="*/ 27913 w 2665497"/>
              <a:gd name="connsiteY4" fmla="*/ 2514325 h 2796565"/>
              <a:gd name="connsiteX5" fmla="*/ 46962 w 2665497"/>
              <a:gd name="connsiteY5" fmla="*/ 2542521 h 2796565"/>
              <a:gd name="connsiteX6" fmla="*/ 62521 w 2665497"/>
              <a:gd name="connsiteY6" fmla="*/ 2561286 h 2796565"/>
              <a:gd name="connsiteX7" fmla="*/ 153710 w 2665497"/>
              <a:gd name="connsiteY7" fmla="*/ 2651532 h 2796565"/>
              <a:gd name="connsiteX8" fmla="*/ 153710 w 2665497"/>
              <a:gd name="connsiteY8" fmla="*/ 2651532 h 2796565"/>
              <a:gd name="connsiteX9" fmla="*/ 237543 w 2665497"/>
              <a:gd name="connsiteY9" fmla="*/ 2734327 h 2796565"/>
              <a:gd name="connsiteX10" fmla="*/ 258383 w 2665497"/>
              <a:gd name="connsiteY10" fmla="*/ 2751301 h 2796565"/>
              <a:gd name="connsiteX11" fmla="*/ 283467 w 2665497"/>
              <a:gd name="connsiteY11" fmla="*/ 2767898 h 2796565"/>
              <a:gd name="connsiteX12" fmla="*/ 332786 w 2665497"/>
              <a:gd name="connsiteY12" fmla="*/ 2788173 h 2796565"/>
              <a:gd name="connsiteX13" fmla="*/ 362585 w 2665497"/>
              <a:gd name="connsiteY13" fmla="*/ 2794019 h 2796565"/>
              <a:gd name="connsiteX14" fmla="*/ 389178 w 2665497"/>
              <a:gd name="connsiteY14" fmla="*/ 2796565 h 2796565"/>
              <a:gd name="connsiteX15" fmla="*/ 2665498 w 2665497"/>
              <a:gd name="connsiteY15" fmla="*/ 2796565 h 2796565"/>
              <a:gd name="connsiteX16" fmla="*/ 2665498 w 2665497"/>
              <a:gd name="connsiteY16" fmla="*/ 384745 h 2796565"/>
              <a:gd name="connsiteX17" fmla="*/ 2663046 w 2665497"/>
              <a:gd name="connsiteY17" fmla="*/ 360227 h 2796565"/>
              <a:gd name="connsiteX18" fmla="*/ 2656445 w 2665497"/>
              <a:gd name="connsiteY18" fmla="*/ 327222 h 2796565"/>
              <a:gd name="connsiteX19" fmla="*/ 2637585 w 2665497"/>
              <a:gd name="connsiteY19" fmla="*/ 282240 h 2796565"/>
              <a:gd name="connsiteX20" fmla="*/ 2618536 w 2665497"/>
              <a:gd name="connsiteY20" fmla="*/ 254045 h 2796565"/>
              <a:gd name="connsiteX21" fmla="*/ 2602977 w 2665497"/>
              <a:gd name="connsiteY21" fmla="*/ 235279 h 2796565"/>
              <a:gd name="connsiteX22" fmla="*/ 2511788 w 2665497"/>
              <a:gd name="connsiteY22" fmla="*/ 145034 h 2796565"/>
              <a:gd name="connsiteX23" fmla="*/ 2511788 w 2665497"/>
              <a:gd name="connsiteY23" fmla="*/ 145034 h 2796565"/>
              <a:gd name="connsiteX24" fmla="*/ 2427955 w 2665497"/>
              <a:gd name="connsiteY24" fmla="*/ 62238 h 2796565"/>
              <a:gd name="connsiteX25" fmla="*/ 2407115 w 2665497"/>
              <a:gd name="connsiteY25" fmla="*/ 45264 h 2796565"/>
              <a:gd name="connsiteX26" fmla="*/ 2382031 w 2665497"/>
              <a:gd name="connsiteY26" fmla="*/ 28667 h 2796565"/>
              <a:gd name="connsiteX27" fmla="*/ 2332711 w 2665497"/>
              <a:gd name="connsiteY27" fmla="*/ 8393 h 2796565"/>
              <a:gd name="connsiteX28" fmla="*/ 2302912 w 2665497"/>
              <a:gd name="connsiteY28" fmla="*/ 2546 h 2796565"/>
              <a:gd name="connsiteX29" fmla="*/ 2276320 w 2665497"/>
              <a:gd name="connsiteY29" fmla="*/ 0 h 2796565"/>
              <a:gd name="connsiteX30" fmla="*/ 0 w 2665497"/>
              <a:gd name="connsiteY30" fmla="*/ 0 h 2796565"/>
              <a:gd name="connsiteX31" fmla="*/ 0 w 2665497"/>
              <a:gd name="connsiteY31" fmla="*/ 2272822 h 2796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65497" h="2796565">
                <a:moveTo>
                  <a:pt x="0" y="2272822"/>
                </a:moveTo>
                <a:lnTo>
                  <a:pt x="0" y="2411821"/>
                </a:lnTo>
                <a:cubicBezTo>
                  <a:pt x="0" y="2420025"/>
                  <a:pt x="849" y="2428229"/>
                  <a:pt x="2452" y="2436339"/>
                </a:cubicBezTo>
                <a:lnTo>
                  <a:pt x="9053" y="2469344"/>
                </a:lnTo>
                <a:cubicBezTo>
                  <a:pt x="12259" y="2485469"/>
                  <a:pt x="18671" y="2500746"/>
                  <a:pt x="27913" y="2514325"/>
                </a:cubicBezTo>
                <a:lnTo>
                  <a:pt x="46962" y="2542521"/>
                </a:lnTo>
                <a:cubicBezTo>
                  <a:pt x="51488" y="2549310"/>
                  <a:pt x="56769" y="2555534"/>
                  <a:pt x="62521" y="2561286"/>
                </a:cubicBezTo>
                <a:lnTo>
                  <a:pt x="153710" y="2651532"/>
                </a:lnTo>
                <a:lnTo>
                  <a:pt x="153710" y="2651532"/>
                </a:lnTo>
                <a:cubicBezTo>
                  <a:pt x="153710" y="2651532"/>
                  <a:pt x="237543" y="2734327"/>
                  <a:pt x="237543" y="2734327"/>
                </a:cubicBezTo>
                <a:cubicBezTo>
                  <a:pt x="243955" y="2740645"/>
                  <a:pt x="250934" y="2746303"/>
                  <a:pt x="258383" y="2751301"/>
                </a:cubicBezTo>
                <a:lnTo>
                  <a:pt x="283467" y="2767898"/>
                </a:lnTo>
                <a:cubicBezTo>
                  <a:pt x="298461" y="2777800"/>
                  <a:pt x="315152" y="2784683"/>
                  <a:pt x="332786" y="2788173"/>
                </a:cubicBezTo>
                <a:lnTo>
                  <a:pt x="362585" y="2794019"/>
                </a:lnTo>
                <a:cubicBezTo>
                  <a:pt x="371355" y="2795717"/>
                  <a:pt x="380220" y="2796565"/>
                  <a:pt x="389178" y="2796565"/>
                </a:cubicBezTo>
                <a:lnTo>
                  <a:pt x="2665498" y="2796565"/>
                </a:lnTo>
                <a:lnTo>
                  <a:pt x="2665498" y="384745"/>
                </a:lnTo>
                <a:cubicBezTo>
                  <a:pt x="2665498" y="376541"/>
                  <a:pt x="2664649" y="368336"/>
                  <a:pt x="2663046" y="360227"/>
                </a:cubicBezTo>
                <a:lnTo>
                  <a:pt x="2656445" y="327222"/>
                </a:lnTo>
                <a:cubicBezTo>
                  <a:pt x="2653239" y="311096"/>
                  <a:pt x="2646826" y="295820"/>
                  <a:pt x="2637585" y="282240"/>
                </a:cubicBezTo>
                <a:lnTo>
                  <a:pt x="2618536" y="254045"/>
                </a:lnTo>
                <a:cubicBezTo>
                  <a:pt x="2614010" y="247255"/>
                  <a:pt x="2608729" y="241031"/>
                  <a:pt x="2602977" y="235279"/>
                </a:cubicBezTo>
                <a:lnTo>
                  <a:pt x="2511788" y="145034"/>
                </a:lnTo>
                <a:lnTo>
                  <a:pt x="2511788" y="145034"/>
                </a:lnTo>
                <a:cubicBezTo>
                  <a:pt x="2511788" y="145034"/>
                  <a:pt x="2427955" y="62238"/>
                  <a:pt x="2427955" y="62238"/>
                </a:cubicBezTo>
                <a:cubicBezTo>
                  <a:pt x="2421543" y="55920"/>
                  <a:pt x="2414564" y="50262"/>
                  <a:pt x="2407115" y="45264"/>
                </a:cubicBezTo>
                <a:lnTo>
                  <a:pt x="2382031" y="28667"/>
                </a:lnTo>
                <a:cubicBezTo>
                  <a:pt x="2367037" y="18766"/>
                  <a:pt x="2350346" y="11882"/>
                  <a:pt x="2332711" y="8393"/>
                </a:cubicBezTo>
                <a:lnTo>
                  <a:pt x="2302912" y="2546"/>
                </a:lnTo>
                <a:cubicBezTo>
                  <a:pt x="2294142" y="849"/>
                  <a:pt x="2285278" y="0"/>
                  <a:pt x="2276320" y="0"/>
                </a:cubicBezTo>
                <a:lnTo>
                  <a:pt x="0" y="0"/>
                </a:lnTo>
                <a:lnTo>
                  <a:pt x="0" y="2272822"/>
                </a:lnTo>
                <a:close/>
              </a:path>
            </a:pathLst>
          </a:custGeom>
          <a:solidFill>
            <a:schemeClr val="bg1"/>
          </a:solidFill>
          <a:ln w="18849" cap="flat">
            <a:noFill/>
            <a:prstDash val="solid"/>
            <a:miter/>
          </a:ln>
          <a:effectLst>
            <a:outerShdw blurRad="106376" sx="102000" sy="102000" algn="ctr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endParaRPr lang="en-RU" sz="24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1655644-BE82-4A01-77F6-2EEA4A5D56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490331" y="2302757"/>
            <a:ext cx="1306280" cy="130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0840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endParaRPr lang="en-US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3B6D38C6-8269-FAA5-B842-E8C492307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2968" y="960170"/>
            <a:ext cx="5566130" cy="5480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547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4">
            <a:extLst>
              <a:ext uri="{FF2B5EF4-FFF2-40B4-BE49-F238E27FC236}">
                <a16:creationId xmlns:a16="http://schemas.microsoft.com/office/drawing/2014/main" id="{E29710EA-9F60-F2BF-2EC1-EF8CD7D0F1B5}"/>
              </a:ext>
            </a:extLst>
          </p:cNvPr>
          <p:cNvSpPr/>
          <p:nvPr/>
        </p:nvSpPr>
        <p:spPr>
          <a:xfrm>
            <a:off x="3216624" y="3959678"/>
            <a:ext cx="2151721" cy="1982005"/>
          </a:xfrm>
          <a:prstGeom prst="roundRect">
            <a:avLst>
              <a:gd name="adj" fmla="val 7011"/>
            </a:avLst>
          </a:prstGeom>
          <a:noFill/>
          <a:ln w="19050">
            <a:solidFill>
              <a:schemeClr val="bg1">
                <a:lumMod val="85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 sz="1351" dirty="0">
              <a:solidFill>
                <a:srgbClr val="50586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638C7C9C-4190-6E58-C037-806D76CC6339}"/>
              </a:ext>
            </a:extLst>
          </p:cNvPr>
          <p:cNvSpPr txBox="1"/>
          <p:nvPr/>
        </p:nvSpPr>
        <p:spPr>
          <a:xfrm>
            <a:off x="3697410" y="3804565"/>
            <a:ext cx="1190149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ußenstelle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549CCC85-4E4A-64F1-AB07-6138CFB920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235303" y="1962852"/>
            <a:ext cx="2321401" cy="146614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F75341E0-89DA-0590-2DC8-48EFEAEE98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646336" y="4356968"/>
            <a:ext cx="2321401" cy="1466148"/>
          </a:xfrm>
          <a:prstGeom prst="rect">
            <a:avLst/>
          </a:prstGeom>
        </p:spPr>
      </p:pic>
      <p:sp>
        <p:nvSpPr>
          <p:cNvPr id="25" name="TextBox 4">
            <a:extLst>
              <a:ext uri="{FF2B5EF4-FFF2-40B4-BE49-F238E27FC236}">
                <a16:creationId xmlns:a16="http://schemas.microsoft.com/office/drawing/2014/main" id="{EA92C545-D99E-5652-2878-57FCFFB0B2E2}"/>
              </a:ext>
            </a:extLst>
          </p:cNvPr>
          <p:cNvSpPr txBox="1"/>
          <p:nvPr/>
        </p:nvSpPr>
        <p:spPr>
          <a:xfrm>
            <a:off x="8685216" y="3914381"/>
            <a:ext cx="252286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 err="1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anaged</a:t>
            </a: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Backup, </a:t>
            </a:r>
          </a:p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z.B. EXTRA Computer GmbH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eie Wahl des Standorts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On-</a:t>
            </a:r>
            <a:r>
              <a:rPr lang="de-DE" dirty="0" err="1"/>
              <a:t>Premises</a:t>
            </a:r>
            <a:r>
              <a:rPr lang="de-DE" dirty="0"/>
              <a:t>, Hybrid, Cloud, </a:t>
            </a:r>
            <a:r>
              <a:rPr lang="de-DE" dirty="0" err="1"/>
              <a:t>Managed</a:t>
            </a:r>
            <a:r>
              <a:rPr lang="de-DE" dirty="0"/>
              <a:t> Backup….</a:t>
            </a:r>
            <a:endParaRPr lang="en-US" dirty="0"/>
          </a:p>
        </p:txBody>
      </p:sp>
      <p:sp>
        <p:nvSpPr>
          <p:cNvPr id="7" name="Rectangle 54">
            <a:extLst>
              <a:ext uri="{FF2B5EF4-FFF2-40B4-BE49-F238E27FC236}">
                <a16:creationId xmlns:a16="http://schemas.microsoft.com/office/drawing/2014/main" id="{07284A90-98CC-8B14-5D2B-D41E6716A8C4}"/>
              </a:ext>
            </a:extLst>
          </p:cNvPr>
          <p:cNvSpPr/>
          <p:nvPr/>
        </p:nvSpPr>
        <p:spPr>
          <a:xfrm>
            <a:off x="502179" y="1777042"/>
            <a:ext cx="2151721" cy="4164641"/>
          </a:xfrm>
          <a:prstGeom prst="roundRect">
            <a:avLst>
              <a:gd name="adj" fmla="val 4808"/>
            </a:avLst>
          </a:prstGeom>
          <a:noFill/>
          <a:ln w="19050">
            <a:solidFill>
              <a:schemeClr val="bg1">
                <a:lumMod val="85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 sz="1351" dirty="0">
              <a:solidFill>
                <a:srgbClr val="50586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16D4D417-21BD-1F1F-AEE9-B6F4809AD060}"/>
              </a:ext>
            </a:extLst>
          </p:cNvPr>
          <p:cNvSpPr txBox="1"/>
          <p:nvPr/>
        </p:nvSpPr>
        <p:spPr>
          <a:xfrm>
            <a:off x="763858" y="1628315"/>
            <a:ext cx="1628361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uptstandort</a:t>
            </a:r>
          </a:p>
        </p:txBody>
      </p:sp>
      <p:sp>
        <p:nvSpPr>
          <p:cNvPr id="14" name="Rectangle 54">
            <a:extLst>
              <a:ext uri="{FF2B5EF4-FFF2-40B4-BE49-F238E27FC236}">
                <a16:creationId xmlns:a16="http://schemas.microsoft.com/office/drawing/2014/main" id="{4A85881E-C3C3-92BC-7E88-1FE3A6ADB522}"/>
              </a:ext>
            </a:extLst>
          </p:cNvPr>
          <p:cNvSpPr/>
          <p:nvPr/>
        </p:nvSpPr>
        <p:spPr>
          <a:xfrm>
            <a:off x="3216624" y="1766281"/>
            <a:ext cx="2151721" cy="1982005"/>
          </a:xfrm>
          <a:prstGeom prst="roundRect">
            <a:avLst>
              <a:gd name="adj" fmla="val 7011"/>
            </a:avLst>
          </a:prstGeom>
          <a:noFill/>
          <a:ln w="19050">
            <a:solidFill>
              <a:schemeClr val="bg1">
                <a:lumMod val="85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 sz="1351" dirty="0">
              <a:solidFill>
                <a:srgbClr val="50586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4">
            <a:extLst>
              <a:ext uri="{FF2B5EF4-FFF2-40B4-BE49-F238E27FC236}">
                <a16:creationId xmlns:a16="http://schemas.microsoft.com/office/drawing/2014/main" id="{A3DD1D73-459D-0A31-EBBE-3CA8DC872752}"/>
              </a:ext>
            </a:extLst>
          </p:cNvPr>
          <p:cNvSpPr txBox="1"/>
          <p:nvPr/>
        </p:nvSpPr>
        <p:spPr>
          <a:xfrm>
            <a:off x="3478303" y="1626082"/>
            <a:ext cx="1628361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ußenstell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816781D-A427-2F5D-7EF9-A7526B2CF0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2070" y="3512560"/>
            <a:ext cx="751936" cy="751936"/>
          </a:xfrm>
          <a:prstGeom prst="rect">
            <a:avLst/>
          </a:prstGeom>
        </p:spPr>
      </p:pic>
      <p:sp>
        <p:nvSpPr>
          <p:cNvPr id="24" name="TextBox 4">
            <a:extLst>
              <a:ext uri="{FF2B5EF4-FFF2-40B4-BE49-F238E27FC236}">
                <a16:creationId xmlns:a16="http://schemas.microsoft.com/office/drawing/2014/main" id="{F46AA63E-6A06-4348-1EC8-FC3B50FE6A06}"/>
              </a:ext>
            </a:extLst>
          </p:cNvPr>
          <p:cNvSpPr txBox="1"/>
          <p:nvPr/>
        </p:nvSpPr>
        <p:spPr>
          <a:xfrm>
            <a:off x="6581823" y="1628315"/>
            <a:ext cx="162836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loud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8254DD48-92E8-F865-515F-585A2BB8F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2070" y="3512560"/>
            <a:ext cx="751936" cy="751936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28C2139F-DBE8-8582-E8BC-172A101BE7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16516" y="4613501"/>
            <a:ext cx="751936" cy="75193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DCC74A7C-5179-8FFE-2E23-FCA4447C6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16514" y="2394606"/>
            <a:ext cx="751936" cy="751936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409614A2-77DA-A3AE-D273-01457DAD1A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93270" y="2414549"/>
            <a:ext cx="751936" cy="751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2770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1.85185E-6 L 0.1125 1.85185E-6 C 0.16289 1.85185E-6 0.225 -0.04514 0.225 -0.08171 L 0.225 -0.1632 " pathEditMode="relative" rAng="0" ptsTypes="AAAA">
                                      <p:cBhvr>
                                        <p:cTn id="6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50" y="-817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25 -0.1632 L 0.48476 -0.1632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8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8476 -0.1632 L 0.57981 -0.1632 C 0.62239 -0.1632 0.67513 -0.06459 0.67513 0.01574 L 0.67513 0.1956 " pathEditMode="relative" rAng="0" ptsTypes="AAAA">
                                      <p:cBhvr>
                                        <p:cTn id="14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18" y="1794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eam ONE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6D0F0B95-2292-94CE-3481-CC4ED41030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ntelligente Analyse &amp; Repor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96180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01DA816-599F-696F-338B-3CB42E209F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576"/>
          <a:stretch/>
        </p:blipFill>
        <p:spPr>
          <a:xfrm>
            <a:off x="4901353" y="1381799"/>
            <a:ext cx="6795345" cy="2172474"/>
          </a:xfrm>
          <a:prstGeom prst="roundRect">
            <a:avLst>
              <a:gd name="adj" fmla="val 5018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endPos="0" dist="5000" dir="5400000" sy="-100000" algn="bl" rotWithShape="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11FE66-2A7E-7947-510D-D62B17574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/>
              <a:t>Verwenden Sie Veeam One für die Kapazitätsplanung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5A7D7DA-A9FF-8497-5D3B-7A9D365BC7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1719645"/>
            <a:ext cx="4510792" cy="4449380"/>
          </a:xfrm>
        </p:spPr>
        <p:txBody>
          <a:bodyPr/>
          <a:lstStyle/>
          <a:p>
            <a:r>
              <a:rPr lang="de-DE" noProof="0" dirty="0">
                <a:sym typeface="Inter-Regular"/>
              </a:rPr>
              <a:t>Forecast für Ressourcen Auslastung</a:t>
            </a:r>
          </a:p>
          <a:p>
            <a:r>
              <a:rPr lang="de-DE" noProof="0" dirty="0">
                <a:sym typeface="Inter-Regular"/>
              </a:rPr>
              <a:t>Planung von Ressourcenreserven</a:t>
            </a:r>
          </a:p>
          <a:p>
            <a:r>
              <a:rPr lang="de-DE" noProof="0" dirty="0">
                <a:sym typeface="Inter-Regular"/>
              </a:rPr>
              <a:t>Simulation von Veränderungen</a:t>
            </a:r>
            <a:endParaRPr lang="de-DE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C4DD74-436B-DFDD-F090-107D497B42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782" t="33016" r="32791" b="26010"/>
          <a:stretch/>
        </p:blipFill>
        <p:spPr>
          <a:xfrm>
            <a:off x="4901353" y="1381799"/>
            <a:ext cx="6446693" cy="4195972"/>
          </a:xfrm>
          <a:prstGeom prst="roundRect">
            <a:avLst>
              <a:gd name="adj" fmla="val 2362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endPos="0" dist="5000" dir="5400000" sy="-100000" algn="bl" rotWithShape="0"/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C95510-3AF1-24D1-F48D-A33942C99BB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219" t="36990" r="38227" b="29586"/>
          <a:stretch/>
        </p:blipFill>
        <p:spPr>
          <a:xfrm>
            <a:off x="6311267" y="1381799"/>
            <a:ext cx="5036780" cy="3908659"/>
          </a:xfrm>
          <a:prstGeom prst="roundRect">
            <a:avLst>
              <a:gd name="adj" fmla="val 230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endPos="0" dist="5000" dir="5400000" sy="-100000" algn="bl" rotWithShape="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944FB68-E7AE-8C1A-76DE-CBD9537B71B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389" r="61408" b="27906"/>
          <a:stretch/>
        </p:blipFill>
        <p:spPr>
          <a:xfrm>
            <a:off x="4901352" y="1393549"/>
            <a:ext cx="5263795" cy="4528073"/>
          </a:xfrm>
          <a:prstGeom prst="roundRect">
            <a:avLst>
              <a:gd name="adj" fmla="val 143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bg2"/>
            </a:solidFill>
          </a:ln>
          <a:effectLst>
            <a:reflection blurRad="12700" endPos="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2458183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computer screen with a cloud and a window&#10;&#10;Description automatically generated with medium confidence">
            <a:extLst>
              <a:ext uri="{FF2B5EF4-FFF2-40B4-BE49-F238E27FC236}">
                <a16:creationId xmlns:a16="http://schemas.microsoft.com/office/drawing/2014/main" id="{72831A0C-6C9E-58C8-F5A1-2A5731E5852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6389" r="6389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C40B1B-02CB-4B28-886F-B4CB6AB72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/>
              <a:t>5 </a:t>
            </a:r>
            <a:r>
              <a:rPr lang="de-DE" dirty="0"/>
              <a:t>beliebte </a:t>
            </a:r>
            <a:br>
              <a:rPr lang="de-DE" dirty="0"/>
            </a:br>
            <a:r>
              <a:rPr lang="de-DE" noProof="0" dirty="0"/>
              <a:t>Infrastruktur Bericht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E2410B3-D3B5-7E26-6C2C-4177327AA2A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7" y="2179673"/>
            <a:ext cx="5488413" cy="398935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noProof="0" dirty="0" err="1"/>
              <a:t>Capacity</a:t>
            </a:r>
            <a:r>
              <a:rPr lang="de-DE" noProof="0" dirty="0"/>
              <a:t> </a:t>
            </a:r>
            <a:r>
              <a:rPr lang="de-DE" noProof="0" dirty="0" err="1"/>
              <a:t>Planning</a:t>
            </a:r>
            <a:endParaRPr lang="de-DE" noProof="0" dirty="0"/>
          </a:p>
          <a:p>
            <a:pPr marL="457200" indent="-457200">
              <a:buFont typeface="+mj-lt"/>
              <a:buAutoNum type="arabicPeriod"/>
            </a:pPr>
            <a:r>
              <a:rPr lang="de-DE" noProof="0" dirty="0"/>
              <a:t>Host Failure Modelling</a:t>
            </a:r>
          </a:p>
          <a:p>
            <a:pPr marL="457200" indent="-457200">
              <a:buFont typeface="+mj-lt"/>
              <a:buAutoNum type="arabicPeriod"/>
            </a:pPr>
            <a:r>
              <a:rPr lang="de-DE" noProof="0" dirty="0"/>
              <a:t>VM Change Rate </a:t>
            </a:r>
            <a:r>
              <a:rPr lang="de-DE" noProof="0" dirty="0" err="1"/>
              <a:t>Estimation</a:t>
            </a:r>
            <a:endParaRPr lang="de-DE" noProof="0" dirty="0"/>
          </a:p>
          <a:p>
            <a:pPr marL="457200" indent="-457200">
              <a:buFont typeface="+mj-lt"/>
              <a:buAutoNum type="arabicPeriod"/>
            </a:pPr>
            <a:r>
              <a:rPr lang="de-DE" noProof="0" dirty="0"/>
              <a:t>Oversized/</a:t>
            </a:r>
            <a:r>
              <a:rPr lang="de-DE" noProof="0" dirty="0" err="1"/>
              <a:t>Undersized</a:t>
            </a:r>
            <a:r>
              <a:rPr lang="de-DE" noProof="0" dirty="0"/>
              <a:t> VMs</a:t>
            </a:r>
          </a:p>
          <a:p>
            <a:pPr marL="457200" indent="-457200">
              <a:buFont typeface="+mj-lt"/>
              <a:buAutoNum type="arabicPeriod"/>
            </a:pPr>
            <a:r>
              <a:rPr lang="en-US" noProof="0" dirty="0"/>
              <a:t>How many more VMs can be provisioned</a:t>
            </a:r>
            <a:endParaRPr lang="de-DE" noProof="0" dirty="0"/>
          </a:p>
          <a:p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161812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computer screen with a cloud and a window&#10;&#10;Description automatically generated with medium confidence">
            <a:extLst>
              <a:ext uri="{FF2B5EF4-FFF2-40B4-BE49-F238E27FC236}">
                <a16:creationId xmlns:a16="http://schemas.microsoft.com/office/drawing/2014/main" id="{C8E45F15-7D34-DBA0-ABBB-2CA5C560389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6389" r="6389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1C40B1B-02CB-4B28-886F-B4CB6AB72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/>
              <a:t>5 beliebte Veeam </a:t>
            </a:r>
            <a:br>
              <a:rPr lang="de-DE" noProof="0" dirty="0"/>
            </a:br>
            <a:r>
              <a:rPr lang="de-DE" noProof="0" dirty="0"/>
              <a:t>Backup Bericht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EB35BE25-B7BC-BC6C-BA23-FA1DC855F40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179673"/>
            <a:ext cx="5717012" cy="395745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DE" dirty="0" err="1"/>
              <a:t>Protected</a:t>
            </a:r>
            <a:r>
              <a:rPr lang="de-DE" dirty="0"/>
              <a:t> VMs 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 err="1"/>
              <a:t>Orphaned</a:t>
            </a:r>
            <a:r>
              <a:rPr lang="de-DE" dirty="0"/>
              <a:t> VMs</a:t>
            </a:r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Veeam Backup Files Growth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apacity Planning for Backup Repositories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r>
              <a:rPr lang="de-DE" dirty="0"/>
              <a:t>Change Rate </a:t>
            </a:r>
            <a:r>
              <a:rPr lang="de-DE" dirty="0" err="1"/>
              <a:t>estimation</a:t>
            </a:r>
            <a:endParaRPr lang="de-DE" dirty="0"/>
          </a:p>
          <a:p>
            <a:pPr marL="457200" indent="-457200">
              <a:buFont typeface="+mj-lt"/>
              <a:buAutoNum type="arabicPeriod"/>
            </a:pP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440267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eam Recovery </a:t>
            </a:r>
            <a:r>
              <a:rPr lang="de-DE" dirty="0" err="1"/>
              <a:t>Orchestrator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6D0F0B95-2292-94CE-3481-CC4ED41030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Automatisiertes DR &amp; Migration nach Az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823821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94708A-F549-AA56-2D02-FF4D5ED21A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504200" y="2301181"/>
            <a:ext cx="1196192" cy="119619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382E6DA-9BD8-4A68-8336-33D7229064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406120" y="2588654"/>
            <a:ext cx="1296860" cy="129686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7F53A2BD-F469-813A-FEB7-9CF1FDE5B8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419767" y="4226794"/>
            <a:ext cx="1296000" cy="1296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3A35421-DC0E-CBCA-4E8C-00F7CAC8C2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2419337" y="2588654"/>
            <a:ext cx="1296860" cy="129686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895B1BC-711E-AC18-8472-9918B779570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406121" y="4226365"/>
            <a:ext cx="1296859" cy="1296859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F34D628-63F5-433F-A7BD-F4C6D5BB02FE}"/>
              </a:ext>
            </a:extLst>
          </p:cNvPr>
          <p:cNvSpPr/>
          <p:nvPr/>
        </p:nvSpPr>
        <p:spPr bwMode="auto">
          <a:xfrm>
            <a:off x="1628056" y="1579210"/>
            <a:ext cx="2829949" cy="4172125"/>
          </a:xfrm>
          <a:prstGeom prst="roundRect">
            <a:avLst>
              <a:gd name="adj" fmla="val 4644"/>
            </a:avLst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6096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76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ym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DA54F3-548A-EFC2-25F4-F3249293B1EC}"/>
              </a:ext>
            </a:extLst>
          </p:cNvPr>
          <p:cNvSpPr/>
          <p:nvPr/>
        </p:nvSpPr>
        <p:spPr bwMode="auto">
          <a:xfrm>
            <a:off x="7639576" y="1579210"/>
            <a:ext cx="2829949" cy="4172125"/>
          </a:xfrm>
          <a:prstGeom prst="roundRect">
            <a:avLst>
              <a:gd name="adj" fmla="val 3893"/>
            </a:avLst>
          </a:prstGeom>
          <a:noFill/>
          <a:ln w="12700">
            <a:solidFill>
              <a:schemeClr val="tx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60960" bIns="1219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76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dirty="0"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6DF1F8-1359-A346-A8EF-BD876DB66339}"/>
              </a:ext>
            </a:extLst>
          </p:cNvPr>
          <p:cNvSpPr txBox="1"/>
          <p:nvPr/>
        </p:nvSpPr>
        <p:spPr>
          <a:xfrm>
            <a:off x="2283891" y="1718444"/>
            <a:ext cx="1518279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377">
              <a:defRPr/>
            </a:pPr>
            <a:r>
              <a:rPr lang="de-DE" dirty="0">
                <a:sym typeface="Arial"/>
              </a:rPr>
              <a:t>On-Premises</a:t>
            </a:r>
          </a:p>
          <a:p>
            <a:pPr algn="ctr" defTabSz="914377">
              <a:defRPr/>
            </a:pPr>
            <a:r>
              <a:rPr lang="de-DE" dirty="0">
                <a:sym typeface="Arial"/>
              </a:rPr>
              <a:t>Datacent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A36EEB-1A35-C980-3375-AC61DF7F9924}"/>
              </a:ext>
            </a:extLst>
          </p:cNvPr>
          <p:cNvSpPr txBox="1"/>
          <p:nvPr/>
        </p:nvSpPr>
        <p:spPr>
          <a:xfrm>
            <a:off x="8375678" y="1718444"/>
            <a:ext cx="1357744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14377">
              <a:defRPr/>
            </a:pPr>
            <a:r>
              <a:rPr lang="de-DE" dirty="0">
                <a:sym typeface="Arial"/>
              </a:rPr>
              <a:t>Recovery Sit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B89932D-5AEB-F3A2-ACF5-B70854166BCB}"/>
              </a:ext>
            </a:extLst>
          </p:cNvPr>
          <p:cNvCxnSpPr/>
          <p:nvPr/>
        </p:nvCxnSpPr>
        <p:spPr>
          <a:xfrm>
            <a:off x="4469651" y="4576877"/>
            <a:ext cx="3169925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FFC70B4-A02C-DD2E-E47D-CB6DD18A803B}"/>
              </a:ext>
            </a:extLst>
          </p:cNvPr>
          <p:cNvSpPr txBox="1"/>
          <p:nvPr/>
        </p:nvSpPr>
        <p:spPr>
          <a:xfrm>
            <a:off x="5471390" y="4620974"/>
            <a:ext cx="1229002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377">
              <a:defRPr/>
            </a:pPr>
            <a:r>
              <a:rPr lang="de-DE" dirty="0">
                <a:sym typeface="Arial"/>
              </a:rPr>
              <a:t>Replication</a:t>
            </a:r>
          </a:p>
          <a:p>
            <a:pPr algn="ctr" defTabSz="914377">
              <a:defRPr/>
            </a:pPr>
            <a:r>
              <a:rPr lang="de-DE" dirty="0">
                <a:sym typeface="Arial"/>
              </a:rPr>
              <a:t>Backup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69490A-C0E3-EC85-87A8-1C8D3661E86E}"/>
              </a:ext>
            </a:extLst>
          </p:cNvPr>
          <p:cNvSpPr txBox="1"/>
          <p:nvPr/>
        </p:nvSpPr>
        <p:spPr>
          <a:xfrm>
            <a:off x="5096820" y="1685246"/>
            <a:ext cx="2010952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377">
              <a:defRPr/>
            </a:pPr>
            <a:r>
              <a:rPr lang="de-DE" dirty="0">
                <a:solidFill>
                  <a:schemeClr val="accent2"/>
                </a:solidFill>
                <a:sym typeface="Arial"/>
              </a:rPr>
              <a:t>Automatisierte </a:t>
            </a:r>
          </a:p>
          <a:p>
            <a:pPr algn="ctr" defTabSz="914377">
              <a:defRPr/>
            </a:pPr>
            <a:r>
              <a:rPr lang="de-DE" dirty="0">
                <a:solidFill>
                  <a:schemeClr val="accent2"/>
                </a:solidFill>
                <a:sym typeface="Arial"/>
              </a:rPr>
              <a:t>Wiederherstellu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95FC46-7266-CA96-6696-34A45B0EFE08}"/>
              </a:ext>
            </a:extLst>
          </p:cNvPr>
          <p:cNvCxnSpPr>
            <a:endCxn id="3" idx="1"/>
          </p:cNvCxnSpPr>
          <p:nvPr/>
        </p:nvCxnSpPr>
        <p:spPr>
          <a:xfrm>
            <a:off x="4469651" y="2899277"/>
            <a:ext cx="1034549" cy="0"/>
          </a:xfrm>
          <a:prstGeom prst="line">
            <a:avLst/>
          </a:prstGeom>
          <a:ln w="12700">
            <a:solidFill>
              <a:schemeClr val="accent2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F85DC54-D99A-1F2E-701B-99F57FD22310}"/>
              </a:ext>
            </a:extLst>
          </p:cNvPr>
          <p:cNvCxnSpPr>
            <a:stCxn id="3" idx="3"/>
          </p:cNvCxnSpPr>
          <p:nvPr/>
        </p:nvCxnSpPr>
        <p:spPr>
          <a:xfrm>
            <a:off x="6700392" y="2899277"/>
            <a:ext cx="939184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4401332-7589-EA54-A3E9-3AEDBB14EA5A}"/>
              </a:ext>
            </a:extLst>
          </p:cNvPr>
          <p:cNvSpPr txBox="1"/>
          <p:nvPr/>
        </p:nvSpPr>
        <p:spPr>
          <a:xfrm>
            <a:off x="5576473" y="4273704"/>
            <a:ext cx="95627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377">
              <a:defRPr/>
            </a:pPr>
            <a:r>
              <a:rPr lang="de-DE" dirty="0">
                <a:sym typeface="Arial"/>
              </a:rPr>
              <a:t>Da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426543-2C22-02DB-0574-BCBC6D55D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okales RZ down: Was tun? </a:t>
            </a:r>
          </a:p>
        </p:txBody>
      </p:sp>
    </p:spTree>
    <p:extLst>
      <p:ext uri="{BB962C8B-B14F-4D97-AF65-F5344CB8AC3E}">
        <p14:creationId xmlns:p14="http://schemas.microsoft.com/office/powerpoint/2010/main" val="2261931716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>
            <a:extLst>
              <a:ext uri="{FF2B5EF4-FFF2-40B4-BE49-F238E27FC236}">
                <a16:creationId xmlns:a16="http://schemas.microsoft.com/office/drawing/2014/main" id="{6600D81F-2FA1-4ECE-A48F-560508F653DA}"/>
              </a:ext>
            </a:extLst>
          </p:cNvPr>
          <p:cNvSpPr/>
          <p:nvPr/>
        </p:nvSpPr>
        <p:spPr>
          <a:xfrm>
            <a:off x="3963829" y="1157811"/>
            <a:ext cx="7589543" cy="5065256"/>
          </a:xfrm>
          <a:prstGeom prst="roundRect">
            <a:avLst>
              <a:gd name="adj" fmla="val 2086"/>
            </a:avLst>
          </a:prstGeom>
          <a:ln w="12700" cap="rnd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05861"/>
              </a:solidFill>
            </a:endParaRPr>
          </a:p>
        </p:txBody>
      </p:sp>
      <p:sp>
        <p:nvSpPr>
          <p:cNvPr id="4" name="Rectangle 54">
            <a:extLst>
              <a:ext uri="{FF2B5EF4-FFF2-40B4-BE49-F238E27FC236}">
                <a16:creationId xmlns:a16="http://schemas.microsoft.com/office/drawing/2014/main" id="{511920B6-4196-4100-AA0C-7799C5DA687C}"/>
              </a:ext>
            </a:extLst>
          </p:cNvPr>
          <p:cNvSpPr/>
          <p:nvPr/>
        </p:nvSpPr>
        <p:spPr>
          <a:xfrm>
            <a:off x="669117" y="1143414"/>
            <a:ext cx="2662192" cy="5078771"/>
          </a:xfrm>
          <a:prstGeom prst="roundRect">
            <a:avLst>
              <a:gd name="adj" fmla="val 3487"/>
            </a:avLst>
          </a:prstGeom>
          <a:ln w="12700" cap="rnd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0586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BA6390-A594-4B2F-BE14-BF4572732314}"/>
              </a:ext>
            </a:extLst>
          </p:cNvPr>
          <p:cNvSpPr txBox="1"/>
          <p:nvPr/>
        </p:nvSpPr>
        <p:spPr>
          <a:xfrm>
            <a:off x="1186033" y="994687"/>
            <a:ext cx="1628361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rimärer Standor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09415A-3E47-4915-AAE5-98E7A7E4ADF9}"/>
              </a:ext>
            </a:extLst>
          </p:cNvPr>
          <p:cNvSpPr txBox="1"/>
          <p:nvPr/>
        </p:nvSpPr>
        <p:spPr>
          <a:xfrm>
            <a:off x="4673743" y="4064109"/>
            <a:ext cx="2488044" cy="25654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Veeam Backup &amp; Replication-Server</a:t>
            </a:r>
          </a:p>
        </p:txBody>
      </p:sp>
      <p:cxnSp>
        <p:nvCxnSpPr>
          <p:cNvPr id="34" name="Straight Arrow Connector 79">
            <a:extLst>
              <a:ext uri="{FF2B5EF4-FFF2-40B4-BE49-F238E27FC236}">
                <a16:creationId xmlns:a16="http://schemas.microsoft.com/office/drawing/2014/main" id="{106F6F02-B4EC-4622-9A8C-097B551F803D}"/>
              </a:ext>
            </a:extLst>
          </p:cNvPr>
          <p:cNvCxnSpPr>
            <a:cxnSpLocks/>
          </p:cNvCxnSpPr>
          <p:nvPr/>
        </p:nvCxnSpPr>
        <p:spPr>
          <a:xfrm>
            <a:off x="3341586" y="5428904"/>
            <a:ext cx="6288441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4EDFE68-588C-494B-9F56-6C82EAAB6304}"/>
              </a:ext>
            </a:extLst>
          </p:cNvPr>
          <p:cNvSpPr txBox="1"/>
          <p:nvPr/>
        </p:nvSpPr>
        <p:spPr>
          <a:xfrm>
            <a:off x="4812178" y="2831582"/>
            <a:ext cx="1422943" cy="25654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VRO-Agent</a:t>
            </a:r>
          </a:p>
        </p:txBody>
      </p:sp>
      <p:sp>
        <p:nvSpPr>
          <p:cNvPr id="40" name="Triangle 93">
            <a:extLst>
              <a:ext uri="{FF2B5EF4-FFF2-40B4-BE49-F238E27FC236}">
                <a16:creationId xmlns:a16="http://schemas.microsoft.com/office/drawing/2014/main" id="{690984BE-1322-4932-B588-CCCE02D6D1F1}"/>
              </a:ext>
            </a:extLst>
          </p:cNvPr>
          <p:cNvSpPr/>
          <p:nvPr/>
        </p:nvSpPr>
        <p:spPr>
          <a:xfrm>
            <a:off x="5621867" y="2434091"/>
            <a:ext cx="4380531" cy="296245"/>
          </a:xfrm>
          <a:prstGeom prst="triangle">
            <a:avLst>
              <a:gd name="adj" fmla="val 47248"/>
            </a:avLst>
          </a:prstGeom>
          <a:gradFill>
            <a:gsLst>
              <a:gs pos="11000">
                <a:schemeClr val="bg1">
                  <a:lumMod val="8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 sz="1351">
              <a:solidFill>
                <a:srgbClr val="50586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4B97DA0-B78D-4DAA-8ACE-E0B7C7EF5847}"/>
              </a:ext>
            </a:extLst>
          </p:cNvPr>
          <p:cNvSpPr txBox="1"/>
          <p:nvPr/>
        </p:nvSpPr>
        <p:spPr>
          <a:xfrm>
            <a:off x="5282738" y="1797811"/>
            <a:ext cx="1879049" cy="46166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defTabSz="914377">
              <a:defRPr/>
            </a:pPr>
            <a:r>
              <a:rPr lang="de-DE" sz="1200" dirty="0">
                <a:solidFill>
                  <a:srgbClr val="505861"/>
                </a:solidFill>
              </a:rPr>
              <a:t>Veeam Recovery </a:t>
            </a:r>
          </a:p>
          <a:p>
            <a:pPr algn="r" defTabSz="914377">
              <a:defRPr/>
            </a:pPr>
            <a:r>
              <a:rPr lang="de-DE" sz="1200" dirty="0">
                <a:solidFill>
                  <a:srgbClr val="505861"/>
                </a:solidFill>
              </a:rPr>
              <a:t>Orchestrator-Server</a:t>
            </a:r>
          </a:p>
        </p:txBody>
      </p:sp>
      <p:cxnSp>
        <p:nvCxnSpPr>
          <p:cNvPr id="44" name="Straight Arrow Connector 63">
            <a:extLst>
              <a:ext uri="{FF2B5EF4-FFF2-40B4-BE49-F238E27FC236}">
                <a16:creationId xmlns:a16="http://schemas.microsoft.com/office/drawing/2014/main" id="{ECC8B777-987F-46F2-AD82-7CA9F0175F99}"/>
              </a:ext>
            </a:extLst>
          </p:cNvPr>
          <p:cNvCxnSpPr>
            <a:cxnSpLocks/>
          </p:cNvCxnSpPr>
          <p:nvPr/>
        </p:nvCxnSpPr>
        <p:spPr>
          <a:xfrm>
            <a:off x="3341586" y="3521701"/>
            <a:ext cx="2161609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ED571E7C-2D9D-4A03-BB76-5A76F81F965F}"/>
              </a:ext>
            </a:extLst>
          </p:cNvPr>
          <p:cNvSpPr txBox="1"/>
          <p:nvPr/>
        </p:nvSpPr>
        <p:spPr>
          <a:xfrm>
            <a:off x="5768758" y="5413586"/>
            <a:ext cx="2100028" cy="276999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solidFill>
                  <a:srgbClr val="505861"/>
                </a:solidFill>
              </a:rPr>
              <a:t> </a:t>
            </a:r>
            <a:r>
              <a:rPr lang="de-DE" sz="1067" dirty="0">
                <a:solidFill>
                  <a:srgbClr val="505861"/>
                </a:solidFill>
                <a:latin typeface="ES Build Neutral"/>
              </a:rPr>
              <a:t>Storage Replic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8328FD9-4D1F-4BE4-83AB-B5375FF406FD}"/>
              </a:ext>
            </a:extLst>
          </p:cNvPr>
          <p:cNvSpPr txBox="1"/>
          <p:nvPr/>
        </p:nvSpPr>
        <p:spPr>
          <a:xfrm>
            <a:off x="7066477" y="2991805"/>
            <a:ext cx="885285" cy="42075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Backup-</a:t>
            </a:r>
          </a:p>
          <a:p>
            <a:pPr algn="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Repositor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B728BB5-6046-46F4-B287-FB21C8A3C913}"/>
              </a:ext>
            </a:extLst>
          </p:cNvPr>
          <p:cNvSpPr txBox="1"/>
          <p:nvPr/>
        </p:nvSpPr>
        <p:spPr>
          <a:xfrm>
            <a:off x="4262337" y="3265779"/>
            <a:ext cx="641522" cy="256545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Backup</a:t>
            </a: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3710C217-7EBC-4B6B-BDEF-0656858A3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>
                <a:solidFill>
                  <a:srgbClr val="505861"/>
                </a:solidFill>
              </a:rPr>
              <a:t>Orchestrierte Wiederherstellung mit Veeam</a:t>
            </a:r>
          </a:p>
        </p:txBody>
      </p:sp>
      <p:cxnSp>
        <p:nvCxnSpPr>
          <p:cNvPr id="141" name="Straight Arrow Connector 63">
            <a:extLst>
              <a:ext uri="{FF2B5EF4-FFF2-40B4-BE49-F238E27FC236}">
                <a16:creationId xmlns:a16="http://schemas.microsoft.com/office/drawing/2014/main" id="{A0280E4E-6F52-6079-07D2-05046D9DB5EB}"/>
              </a:ext>
            </a:extLst>
          </p:cNvPr>
          <p:cNvCxnSpPr>
            <a:cxnSpLocks/>
          </p:cNvCxnSpPr>
          <p:nvPr/>
        </p:nvCxnSpPr>
        <p:spPr>
          <a:xfrm>
            <a:off x="6369050" y="3521701"/>
            <a:ext cx="899445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79">
            <a:extLst>
              <a:ext uri="{FF2B5EF4-FFF2-40B4-BE49-F238E27FC236}">
                <a16:creationId xmlns:a16="http://schemas.microsoft.com/office/drawing/2014/main" id="{A652AB96-F33E-53BC-B8F4-A1BF6E217DD2}"/>
              </a:ext>
            </a:extLst>
          </p:cNvPr>
          <p:cNvGrpSpPr/>
          <p:nvPr/>
        </p:nvGrpSpPr>
        <p:grpSpPr>
          <a:xfrm>
            <a:off x="897121" y="1494631"/>
            <a:ext cx="2206183" cy="1878920"/>
            <a:chOff x="7127306" y="2249715"/>
            <a:chExt cx="1176278" cy="1001792"/>
          </a:xfrm>
        </p:grpSpPr>
        <p:pic>
          <p:nvPicPr>
            <p:cNvPr id="23" name="Graphic 85">
              <a:extLst>
                <a:ext uri="{FF2B5EF4-FFF2-40B4-BE49-F238E27FC236}">
                  <a16:creationId xmlns:a16="http://schemas.microsoft.com/office/drawing/2014/main" id="{9EC4CA3E-14C3-BD1E-8B91-5F7009DB3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7135420" y="2292567"/>
              <a:ext cx="1168164" cy="958940"/>
            </a:xfrm>
            <a:prstGeom prst="rect">
              <a:avLst/>
            </a:prstGeom>
          </p:spPr>
        </p:pic>
        <p:pic>
          <p:nvPicPr>
            <p:cNvPr id="24" name="Graphic 86">
              <a:extLst>
                <a:ext uri="{FF2B5EF4-FFF2-40B4-BE49-F238E27FC236}">
                  <a16:creationId xmlns:a16="http://schemas.microsoft.com/office/drawing/2014/main" id="{073B01F4-ED5C-9A58-2AE4-44F86DC30E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r="9414" b="8442"/>
            <a:stretch/>
          </p:blipFill>
          <p:spPr>
            <a:xfrm>
              <a:off x="7127306" y="2249715"/>
              <a:ext cx="341008" cy="344666"/>
            </a:xfrm>
            <a:prstGeom prst="rect">
              <a:avLst/>
            </a:prstGeom>
          </p:spPr>
        </p:pic>
      </p:grpSp>
      <p:pic>
        <p:nvPicPr>
          <p:cNvPr id="26" name="Graphic 28">
            <a:extLst>
              <a:ext uri="{FF2B5EF4-FFF2-40B4-BE49-F238E27FC236}">
                <a16:creationId xmlns:a16="http://schemas.microsoft.com/office/drawing/2014/main" id="{60DB29B8-497F-7DE9-CDF3-70763284B7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543613" y="3283966"/>
            <a:ext cx="724741" cy="724741"/>
          </a:xfrm>
          <a:prstGeom prst="rect">
            <a:avLst/>
          </a:prstGeom>
        </p:spPr>
      </p:pic>
      <p:pic>
        <p:nvPicPr>
          <p:cNvPr id="27" name="Graphic 29">
            <a:extLst>
              <a:ext uri="{FF2B5EF4-FFF2-40B4-BE49-F238E27FC236}">
                <a16:creationId xmlns:a16="http://schemas.microsoft.com/office/drawing/2014/main" id="{75EC5524-25CC-A4EC-887F-1EB355466F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311885" y="3344928"/>
            <a:ext cx="648000" cy="648000"/>
          </a:xfrm>
          <a:prstGeom prst="rect">
            <a:avLst/>
          </a:prstGeom>
        </p:spPr>
      </p:pic>
      <p:pic>
        <p:nvPicPr>
          <p:cNvPr id="29" name="Graphic 93">
            <a:extLst>
              <a:ext uri="{FF2B5EF4-FFF2-40B4-BE49-F238E27FC236}">
                <a16:creationId xmlns:a16="http://schemas.microsoft.com/office/drawing/2014/main" id="{4F73423B-70FE-768E-DCB5-5CE519C00E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319223" y="1664854"/>
            <a:ext cx="711756" cy="711756"/>
          </a:xfrm>
          <a:prstGeom prst="rect">
            <a:avLst/>
          </a:prstGeom>
        </p:spPr>
      </p:pic>
      <p:pic>
        <p:nvPicPr>
          <p:cNvPr id="65" name="Graphic 61">
            <a:extLst>
              <a:ext uri="{FF2B5EF4-FFF2-40B4-BE49-F238E27FC236}">
                <a16:creationId xmlns:a16="http://schemas.microsoft.com/office/drawing/2014/main" id="{9E55ABB9-4C3B-F0B4-1982-D1A034BDB14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364077" y="3146865"/>
            <a:ext cx="254257" cy="2542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BCA6527-80D9-466C-9B7A-D34CA1130D32}"/>
              </a:ext>
            </a:extLst>
          </p:cNvPr>
          <p:cNvSpPr txBox="1"/>
          <p:nvPr/>
        </p:nvSpPr>
        <p:spPr>
          <a:xfrm>
            <a:off x="7167627" y="1019226"/>
            <a:ext cx="1836661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R Standort</a:t>
            </a:r>
          </a:p>
        </p:txBody>
      </p:sp>
      <p:pic>
        <p:nvPicPr>
          <p:cNvPr id="7" name="Рисунок 58">
            <a:extLst>
              <a:ext uri="{FF2B5EF4-FFF2-40B4-BE49-F238E27FC236}">
                <a16:creationId xmlns:a16="http://schemas.microsoft.com/office/drawing/2014/main" id="{BB48E2AB-ADCA-4DD7-8431-88F3F68F4D6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9630027" y="1629476"/>
            <a:ext cx="1532431" cy="1260000"/>
          </a:xfrm>
          <a:prstGeom prst="rect">
            <a:avLst/>
          </a:prstGeom>
        </p:spPr>
      </p:pic>
      <p:pic>
        <p:nvPicPr>
          <p:cNvPr id="8" name="Рисунок 58">
            <a:extLst>
              <a:ext uri="{FF2B5EF4-FFF2-40B4-BE49-F238E27FC236}">
                <a16:creationId xmlns:a16="http://schemas.microsoft.com/office/drawing/2014/main" id="{6103E508-CAAF-F5EA-B24C-22317C1F718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9616986" y="3088127"/>
            <a:ext cx="1532431" cy="1260000"/>
          </a:xfrm>
          <a:prstGeom prst="rect">
            <a:avLst/>
          </a:prstGeom>
        </p:spPr>
      </p:pic>
      <p:pic>
        <p:nvPicPr>
          <p:cNvPr id="9" name="Рисунок 55">
            <a:extLst>
              <a:ext uri="{FF2B5EF4-FFF2-40B4-BE49-F238E27FC236}">
                <a16:creationId xmlns:a16="http://schemas.microsoft.com/office/drawing/2014/main" id="{15D82C77-F0AA-4EFD-8F1F-B89B583E99D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557821" y="3656722"/>
            <a:ext cx="900000" cy="900000"/>
          </a:xfrm>
          <a:prstGeom prst="rect">
            <a:avLst/>
          </a:prstGeom>
        </p:spPr>
      </p:pic>
      <p:cxnSp>
        <p:nvCxnSpPr>
          <p:cNvPr id="10" name="Straight Arrow Connector 79">
            <a:extLst>
              <a:ext uri="{FF2B5EF4-FFF2-40B4-BE49-F238E27FC236}">
                <a16:creationId xmlns:a16="http://schemas.microsoft.com/office/drawing/2014/main" id="{CF5F200C-AD2D-964D-9D0F-6323ABC41DD3}"/>
              </a:ext>
            </a:extLst>
          </p:cNvPr>
          <p:cNvCxnSpPr>
            <a:cxnSpLocks/>
          </p:cNvCxnSpPr>
          <p:nvPr/>
        </p:nvCxnSpPr>
        <p:spPr>
          <a:xfrm>
            <a:off x="8090107" y="3677395"/>
            <a:ext cx="1241323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79">
            <a:extLst>
              <a:ext uri="{FF2B5EF4-FFF2-40B4-BE49-F238E27FC236}">
                <a16:creationId xmlns:a16="http://schemas.microsoft.com/office/drawing/2014/main" id="{FF953B23-DB06-97E5-1394-6165C73B4E67}"/>
              </a:ext>
            </a:extLst>
          </p:cNvPr>
          <p:cNvCxnSpPr>
            <a:cxnSpLocks/>
          </p:cNvCxnSpPr>
          <p:nvPr/>
        </p:nvCxnSpPr>
        <p:spPr>
          <a:xfrm flipV="1">
            <a:off x="8090107" y="2198418"/>
            <a:ext cx="1241323" cy="121964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59">
            <a:extLst>
              <a:ext uri="{FF2B5EF4-FFF2-40B4-BE49-F238E27FC236}">
                <a16:creationId xmlns:a16="http://schemas.microsoft.com/office/drawing/2014/main" id="{BD822151-1BBA-CBF9-A24C-8928ACCF084A}"/>
              </a:ext>
            </a:extLst>
          </p:cNvPr>
          <p:cNvSpPr txBox="1"/>
          <p:nvPr/>
        </p:nvSpPr>
        <p:spPr>
          <a:xfrm>
            <a:off x="8330678" y="3684436"/>
            <a:ext cx="638316" cy="256545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Restore</a:t>
            </a:r>
          </a:p>
        </p:txBody>
      </p:sp>
      <p:sp>
        <p:nvSpPr>
          <p:cNvPr id="16" name="TextBox 59">
            <a:extLst>
              <a:ext uri="{FF2B5EF4-FFF2-40B4-BE49-F238E27FC236}">
                <a16:creationId xmlns:a16="http://schemas.microsoft.com/office/drawing/2014/main" id="{0F73B87F-E9EA-1B38-6F4C-E29D3F2FCC34}"/>
              </a:ext>
            </a:extLst>
          </p:cNvPr>
          <p:cNvSpPr txBox="1"/>
          <p:nvPr/>
        </p:nvSpPr>
        <p:spPr>
          <a:xfrm>
            <a:off x="8281002" y="1875368"/>
            <a:ext cx="859531" cy="256545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Replication</a:t>
            </a:r>
          </a:p>
        </p:txBody>
      </p:sp>
      <p:pic>
        <p:nvPicPr>
          <p:cNvPr id="6" name="Рисунок 51">
            <a:extLst>
              <a:ext uri="{FF2B5EF4-FFF2-40B4-BE49-F238E27FC236}">
                <a16:creationId xmlns:a16="http://schemas.microsoft.com/office/drawing/2014/main" id="{85D2E21C-77A0-73F5-F61F-A0C65DFA6E4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586179" y="4992083"/>
            <a:ext cx="900000" cy="900000"/>
          </a:xfrm>
          <a:prstGeom prst="rect">
            <a:avLst/>
          </a:prstGeom>
        </p:spPr>
      </p:pic>
      <p:pic>
        <p:nvPicPr>
          <p:cNvPr id="11" name="Рисунок 49">
            <a:extLst>
              <a:ext uri="{FF2B5EF4-FFF2-40B4-BE49-F238E27FC236}">
                <a16:creationId xmlns:a16="http://schemas.microsoft.com/office/drawing/2014/main" id="{AC9588F9-7D0E-63F5-3159-12043610CEB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9888098" y="4992083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99821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raphic 107">
            <a:extLst>
              <a:ext uri="{FF2B5EF4-FFF2-40B4-BE49-F238E27FC236}">
                <a16:creationId xmlns:a16="http://schemas.microsoft.com/office/drawing/2014/main" id="{12EA553F-AA73-1855-CB41-F1E8BCC8A8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76424" y="4487169"/>
            <a:ext cx="1771176" cy="1106984"/>
          </a:xfrm>
          <a:prstGeom prst="rect">
            <a:avLst/>
          </a:prstGeom>
        </p:spPr>
      </p:pic>
      <p:sp>
        <p:nvSpPr>
          <p:cNvPr id="2" name="Rectangle 50">
            <a:extLst>
              <a:ext uri="{FF2B5EF4-FFF2-40B4-BE49-F238E27FC236}">
                <a16:creationId xmlns:a16="http://schemas.microsoft.com/office/drawing/2014/main" id="{6600D81F-2FA1-4ECE-A48F-560508F653DA}"/>
              </a:ext>
            </a:extLst>
          </p:cNvPr>
          <p:cNvSpPr/>
          <p:nvPr/>
        </p:nvSpPr>
        <p:spPr>
          <a:xfrm>
            <a:off x="3963829" y="1157811"/>
            <a:ext cx="7589543" cy="5065256"/>
          </a:xfrm>
          <a:prstGeom prst="roundRect">
            <a:avLst>
              <a:gd name="adj" fmla="val 2086"/>
            </a:avLst>
          </a:prstGeom>
          <a:ln w="12700" cap="rnd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05861"/>
              </a:solidFill>
            </a:endParaRPr>
          </a:p>
        </p:txBody>
      </p:sp>
      <p:sp>
        <p:nvSpPr>
          <p:cNvPr id="4" name="Rectangle 54">
            <a:extLst>
              <a:ext uri="{FF2B5EF4-FFF2-40B4-BE49-F238E27FC236}">
                <a16:creationId xmlns:a16="http://schemas.microsoft.com/office/drawing/2014/main" id="{511920B6-4196-4100-AA0C-7799C5DA687C}"/>
              </a:ext>
            </a:extLst>
          </p:cNvPr>
          <p:cNvSpPr/>
          <p:nvPr/>
        </p:nvSpPr>
        <p:spPr>
          <a:xfrm>
            <a:off x="669117" y="1143414"/>
            <a:ext cx="2662192" cy="5078771"/>
          </a:xfrm>
          <a:prstGeom prst="roundRect">
            <a:avLst>
              <a:gd name="adj" fmla="val 3487"/>
            </a:avLst>
          </a:prstGeom>
          <a:ln w="12700" cap="rnd">
            <a:solidFill>
              <a:schemeClr val="tx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rgbClr val="50586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BA6390-A594-4B2F-BE14-BF4572732314}"/>
              </a:ext>
            </a:extLst>
          </p:cNvPr>
          <p:cNvSpPr txBox="1"/>
          <p:nvPr/>
        </p:nvSpPr>
        <p:spPr>
          <a:xfrm>
            <a:off x="1186033" y="994687"/>
            <a:ext cx="1628361" cy="2974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de-DE" sz="1333" dirty="0">
                <a:solidFill>
                  <a:srgbClr val="50586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roduktivstandor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09415A-3E47-4915-AAE5-98E7A7E4ADF9}"/>
              </a:ext>
            </a:extLst>
          </p:cNvPr>
          <p:cNvSpPr txBox="1"/>
          <p:nvPr/>
        </p:nvSpPr>
        <p:spPr>
          <a:xfrm>
            <a:off x="4673743" y="4064109"/>
            <a:ext cx="2488044" cy="25654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Veeam Backup &amp; Replication-Server</a:t>
            </a:r>
          </a:p>
        </p:txBody>
      </p:sp>
      <p:cxnSp>
        <p:nvCxnSpPr>
          <p:cNvPr id="34" name="Straight Arrow Connector 79">
            <a:extLst>
              <a:ext uri="{FF2B5EF4-FFF2-40B4-BE49-F238E27FC236}">
                <a16:creationId xmlns:a16="http://schemas.microsoft.com/office/drawing/2014/main" id="{106F6F02-B4EC-4622-9A8C-097B551F803D}"/>
              </a:ext>
            </a:extLst>
          </p:cNvPr>
          <p:cNvCxnSpPr>
            <a:cxnSpLocks/>
          </p:cNvCxnSpPr>
          <p:nvPr/>
        </p:nvCxnSpPr>
        <p:spPr>
          <a:xfrm>
            <a:off x="6177063" y="5170497"/>
            <a:ext cx="3301980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4EDFE68-588C-494B-9F56-6C82EAAB6304}"/>
              </a:ext>
            </a:extLst>
          </p:cNvPr>
          <p:cNvSpPr txBox="1"/>
          <p:nvPr/>
        </p:nvSpPr>
        <p:spPr>
          <a:xfrm>
            <a:off x="4812178" y="2831582"/>
            <a:ext cx="1422943" cy="25654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VRO-Agent</a:t>
            </a:r>
          </a:p>
        </p:txBody>
      </p:sp>
      <p:cxnSp>
        <p:nvCxnSpPr>
          <p:cNvPr id="39" name="Straight Arrow Connector 6">
            <a:extLst>
              <a:ext uri="{FF2B5EF4-FFF2-40B4-BE49-F238E27FC236}">
                <a16:creationId xmlns:a16="http://schemas.microsoft.com/office/drawing/2014/main" id="{DF070333-F392-4CAC-8144-BED2FBF8E055}"/>
              </a:ext>
            </a:extLst>
          </p:cNvPr>
          <p:cNvCxnSpPr>
            <a:cxnSpLocks/>
          </p:cNvCxnSpPr>
          <p:nvPr/>
        </p:nvCxnSpPr>
        <p:spPr>
          <a:xfrm>
            <a:off x="5917765" y="4354240"/>
            <a:ext cx="0" cy="455699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riangle 93">
            <a:extLst>
              <a:ext uri="{FF2B5EF4-FFF2-40B4-BE49-F238E27FC236}">
                <a16:creationId xmlns:a16="http://schemas.microsoft.com/office/drawing/2014/main" id="{690984BE-1322-4932-B588-CCCE02D6D1F1}"/>
              </a:ext>
            </a:extLst>
          </p:cNvPr>
          <p:cNvSpPr/>
          <p:nvPr/>
        </p:nvSpPr>
        <p:spPr>
          <a:xfrm>
            <a:off x="5621867" y="2434091"/>
            <a:ext cx="4380531" cy="296245"/>
          </a:xfrm>
          <a:prstGeom prst="triangle">
            <a:avLst>
              <a:gd name="adj" fmla="val 47248"/>
            </a:avLst>
          </a:prstGeom>
          <a:gradFill>
            <a:gsLst>
              <a:gs pos="11000">
                <a:schemeClr val="bg1">
                  <a:lumMod val="8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u-RU" sz="1351">
              <a:solidFill>
                <a:srgbClr val="50586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4B97DA0-B78D-4DAA-8ACE-E0B7C7EF5847}"/>
              </a:ext>
            </a:extLst>
          </p:cNvPr>
          <p:cNvSpPr txBox="1"/>
          <p:nvPr/>
        </p:nvSpPr>
        <p:spPr>
          <a:xfrm>
            <a:off x="5282738" y="1797811"/>
            <a:ext cx="1879049" cy="46166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defTabSz="914377">
              <a:defRPr/>
            </a:pPr>
            <a:r>
              <a:rPr lang="de-DE" sz="1200" dirty="0">
                <a:solidFill>
                  <a:srgbClr val="505861"/>
                </a:solidFill>
              </a:rPr>
              <a:t>Veeam Recovery </a:t>
            </a:r>
          </a:p>
          <a:p>
            <a:pPr algn="r" defTabSz="914377">
              <a:defRPr/>
            </a:pPr>
            <a:r>
              <a:rPr lang="de-DE" sz="1200" dirty="0" err="1">
                <a:solidFill>
                  <a:srgbClr val="505861"/>
                </a:solidFill>
              </a:rPr>
              <a:t>Orchestrator</a:t>
            </a:r>
            <a:r>
              <a:rPr lang="de-DE" sz="1200" dirty="0">
                <a:solidFill>
                  <a:srgbClr val="505861"/>
                </a:solidFill>
              </a:rPr>
              <a:t>-Server</a:t>
            </a:r>
          </a:p>
        </p:txBody>
      </p:sp>
      <p:cxnSp>
        <p:nvCxnSpPr>
          <p:cNvPr id="44" name="Straight Arrow Connector 63">
            <a:extLst>
              <a:ext uri="{FF2B5EF4-FFF2-40B4-BE49-F238E27FC236}">
                <a16:creationId xmlns:a16="http://schemas.microsoft.com/office/drawing/2014/main" id="{ECC8B777-987F-46F2-AD82-7CA9F0175F99}"/>
              </a:ext>
            </a:extLst>
          </p:cNvPr>
          <p:cNvCxnSpPr>
            <a:cxnSpLocks/>
          </p:cNvCxnSpPr>
          <p:nvPr/>
        </p:nvCxnSpPr>
        <p:spPr>
          <a:xfrm>
            <a:off x="3341586" y="3521701"/>
            <a:ext cx="2161609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ED571E7C-2D9D-4A03-BB76-5A76F81F965F}"/>
              </a:ext>
            </a:extLst>
          </p:cNvPr>
          <p:cNvSpPr txBox="1"/>
          <p:nvPr/>
        </p:nvSpPr>
        <p:spPr>
          <a:xfrm>
            <a:off x="6567681" y="5220120"/>
            <a:ext cx="2100028" cy="497572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 defTabSz="914377">
              <a:spcAft>
                <a:spcPts val="600"/>
              </a:spcAft>
              <a:defRPr/>
            </a:pPr>
            <a:r>
              <a:rPr lang="de-DE" sz="1200" dirty="0">
                <a:solidFill>
                  <a:srgbClr val="505861"/>
                </a:solidFill>
              </a:rPr>
              <a:t>Cloud Plan</a:t>
            </a:r>
          </a:p>
          <a:p>
            <a:pPr algn="ctr" defTabSz="914377">
              <a:spcAft>
                <a:spcPts val="600"/>
              </a:spcAft>
              <a:defRPr/>
            </a:pPr>
            <a:r>
              <a:rPr lang="de-DE" sz="1400" baseline="30000" dirty="0">
                <a:solidFill>
                  <a:srgbClr val="505861"/>
                </a:solidFill>
              </a:rPr>
              <a:t>Direkter Restore nach Azu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8328FD9-4D1F-4BE4-83AB-B5375FF406FD}"/>
              </a:ext>
            </a:extLst>
          </p:cNvPr>
          <p:cNvSpPr txBox="1"/>
          <p:nvPr/>
        </p:nvSpPr>
        <p:spPr>
          <a:xfrm>
            <a:off x="4708543" y="4844321"/>
            <a:ext cx="885285" cy="42075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Backup-</a:t>
            </a:r>
          </a:p>
          <a:p>
            <a:pPr algn="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Repositor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B728BB5-6046-46F4-B287-FB21C8A3C913}"/>
              </a:ext>
            </a:extLst>
          </p:cNvPr>
          <p:cNvSpPr txBox="1"/>
          <p:nvPr/>
        </p:nvSpPr>
        <p:spPr>
          <a:xfrm>
            <a:off x="4262337" y="3265779"/>
            <a:ext cx="641522" cy="256545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ct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Backup</a:t>
            </a: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3710C217-7EBC-4B6B-BDEF-0656858A3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>
                <a:solidFill>
                  <a:srgbClr val="505861"/>
                </a:solidFill>
              </a:rPr>
              <a:t>Restore nach Microsoft Azure</a:t>
            </a:r>
          </a:p>
        </p:txBody>
      </p:sp>
      <p:cxnSp>
        <p:nvCxnSpPr>
          <p:cNvPr id="141" name="Straight Arrow Connector 63">
            <a:extLst>
              <a:ext uri="{FF2B5EF4-FFF2-40B4-BE49-F238E27FC236}">
                <a16:creationId xmlns:a16="http://schemas.microsoft.com/office/drawing/2014/main" id="{A0280E4E-6F52-6079-07D2-05046D9DB5EB}"/>
              </a:ext>
            </a:extLst>
          </p:cNvPr>
          <p:cNvCxnSpPr>
            <a:cxnSpLocks/>
          </p:cNvCxnSpPr>
          <p:nvPr/>
        </p:nvCxnSpPr>
        <p:spPr>
          <a:xfrm>
            <a:off x="6369050" y="3521701"/>
            <a:ext cx="899445" cy="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51">
            <a:extLst>
              <a:ext uri="{FF2B5EF4-FFF2-40B4-BE49-F238E27FC236}">
                <a16:creationId xmlns:a16="http://schemas.microsoft.com/office/drawing/2014/main" id="{EEBFEA0B-9BE1-8C69-5131-873124B91AF2}"/>
              </a:ext>
            </a:extLst>
          </p:cNvPr>
          <p:cNvSpPr txBox="1"/>
          <p:nvPr/>
        </p:nvSpPr>
        <p:spPr>
          <a:xfrm>
            <a:off x="7840746" y="3378720"/>
            <a:ext cx="885285" cy="420756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defTabSz="914377">
              <a:defRPr/>
            </a:pPr>
            <a:r>
              <a:rPr lang="de-DE" sz="1067" dirty="0">
                <a:solidFill>
                  <a:srgbClr val="505861"/>
                </a:solidFill>
              </a:rPr>
              <a:t>Azure Blob</a:t>
            </a:r>
          </a:p>
          <a:p>
            <a:pPr algn="r" defTabSz="914377">
              <a:defRPr/>
            </a:pPr>
            <a:endParaRPr lang="de-DE" sz="1067" dirty="0">
              <a:solidFill>
                <a:srgbClr val="505861"/>
              </a:solidFill>
            </a:endParaRPr>
          </a:p>
        </p:txBody>
      </p:sp>
      <p:cxnSp>
        <p:nvCxnSpPr>
          <p:cNvPr id="145" name="Straight Arrow Connector 79">
            <a:extLst>
              <a:ext uri="{FF2B5EF4-FFF2-40B4-BE49-F238E27FC236}">
                <a16:creationId xmlns:a16="http://schemas.microsoft.com/office/drawing/2014/main" id="{685588E2-7553-ED8F-96CD-C82363F43702}"/>
              </a:ext>
            </a:extLst>
          </p:cNvPr>
          <p:cNvCxnSpPr>
            <a:cxnSpLocks/>
          </p:cNvCxnSpPr>
          <p:nvPr/>
        </p:nvCxnSpPr>
        <p:spPr>
          <a:xfrm>
            <a:off x="7617695" y="3895336"/>
            <a:ext cx="0" cy="1275160"/>
          </a:xfrm>
          <a:prstGeom prst="straightConnector1">
            <a:avLst/>
          </a:prstGeom>
          <a:ln w="12700">
            <a:solidFill>
              <a:schemeClr val="accent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79">
            <a:extLst>
              <a:ext uri="{FF2B5EF4-FFF2-40B4-BE49-F238E27FC236}">
                <a16:creationId xmlns:a16="http://schemas.microsoft.com/office/drawing/2014/main" id="{A652AB96-F33E-53BC-B8F4-A1BF6E217DD2}"/>
              </a:ext>
            </a:extLst>
          </p:cNvPr>
          <p:cNvGrpSpPr/>
          <p:nvPr/>
        </p:nvGrpSpPr>
        <p:grpSpPr>
          <a:xfrm>
            <a:off x="910310" y="2645928"/>
            <a:ext cx="2206183" cy="1878920"/>
            <a:chOff x="7127306" y="2249715"/>
            <a:chExt cx="1176278" cy="1001792"/>
          </a:xfrm>
        </p:grpSpPr>
        <p:pic>
          <p:nvPicPr>
            <p:cNvPr id="23" name="Graphic 85">
              <a:extLst>
                <a:ext uri="{FF2B5EF4-FFF2-40B4-BE49-F238E27FC236}">
                  <a16:creationId xmlns:a16="http://schemas.microsoft.com/office/drawing/2014/main" id="{9EC4CA3E-14C3-BD1E-8B91-5F7009DB3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135420" y="2292567"/>
              <a:ext cx="1168164" cy="958940"/>
            </a:xfrm>
            <a:prstGeom prst="rect">
              <a:avLst/>
            </a:prstGeom>
          </p:spPr>
        </p:pic>
        <p:pic>
          <p:nvPicPr>
            <p:cNvPr id="24" name="Graphic 86">
              <a:extLst>
                <a:ext uri="{FF2B5EF4-FFF2-40B4-BE49-F238E27FC236}">
                  <a16:creationId xmlns:a16="http://schemas.microsoft.com/office/drawing/2014/main" id="{073B01F4-ED5C-9A58-2AE4-44F86DC30E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r="9414" b="8442"/>
            <a:stretch/>
          </p:blipFill>
          <p:spPr>
            <a:xfrm>
              <a:off x="7127306" y="2249715"/>
              <a:ext cx="341008" cy="344666"/>
            </a:xfrm>
            <a:prstGeom prst="rect">
              <a:avLst/>
            </a:prstGeom>
          </p:spPr>
        </p:pic>
      </p:grpSp>
      <p:pic>
        <p:nvPicPr>
          <p:cNvPr id="26" name="Graphic 28">
            <a:extLst>
              <a:ext uri="{FF2B5EF4-FFF2-40B4-BE49-F238E27FC236}">
                <a16:creationId xmlns:a16="http://schemas.microsoft.com/office/drawing/2014/main" id="{60DB29B8-497F-7DE9-CDF3-70763284B7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543613" y="3283966"/>
            <a:ext cx="724741" cy="724741"/>
          </a:xfrm>
          <a:prstGeom prst="rect">
            <a:avLst/>
          </a:prstGeom>
        </p:spPr>
      </p:pic>
      <p:pic>
        <p:nvPicPr>
          <p:cNvPr id="27" name="Graphic 29">
            <a:extLst>
              <a:ext uri="{FF2B5EF4-FFF2-40B4-BE49-F238E27FC236}">
                <a16:creationId xmlns:a16="http://schemas.microsoft.com/office/drawing/2014/main" id="{75EC5524-25CC-A4EC-887F-1EB355466F1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657126" y="4809939"/>
            <a:ext cx="648000" cy="648000"/>
          </a:xfrm>
          <a:prstGeom prst="rect">
            <a:avLst/>
          </a:prstGeom>
        </p:spPr>
      </p:pic>
      <p:pic>
        <p:nvPicPr>
          <p:cNvPr id="29" name="Graphic 93">
            <a:extLst>
              <a:ext uri="{FF2B5EF4-FFF2-40B4-BE49-F238E27FC236}">
                <a16:creationId xmlns:a16="http://schemas.microsoft.com/office/drawing/2014/main" id="{4F73423B-70FE-768E-DCB5-5CE519C00E5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19223" y="1664854"/>
            <a:ext cx="711756" cy="711756"/>
          </a:xfrm>
          <a:prstGeom prst="rect">
            <a:avLst/>
          </a:prstGeom>
        </p:spPr>
      </p:pic>
      <p:pic>
        <p:nvPicPr>
          <p:cNvPr id="59" name="Graphic 90">
            <a:extLst>
              <a:ext uri="{FF2B5EF4-FFF2-40B4-BE49-F238E27FC236}">
                <a16:creationId xmlns:a16="http://schemas.microsoft.com/office/drawing/2014/main" id="{E3349A8C-C920-92F9-8947-F8E196A2AFF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9750071" y="4805177"/>
            <a:ext cx="697675" cy="697672"/>
          </a:xfrm>
          <a:prstGeom prst="rect">
            <a:avLst/>
          </a:prstGeom>
        </p:spPr>
      </p:pic>
      <p:pic>
        <p:nvPicPr>
          <p:cNvPr id="61" name="Graphic 91">
            <a:extLst>
              <a:ext uri="{FF2B5EF4-FFF2-40B4-BE49-F238E27FC236}">
                <a16:creationId xmlns:a16="http://schemas.microsoft.com/office/drawing/2014/main" id="{E8160978-EE15-1697-F7E6-893634BE7A0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419764" y="4951910"/>
            <a:ext cx="451641" cy="414005"/>
          </a:xfrm>
          <a:prstGeom prst="rect">
            <a:avLst/>
          </a:prstGeom>
        </p:spPr>
      </p:pic>
      <p:pic>
        <p:nvPicPr>
          <p:cNvPr id="65" name="Graphic 61">
            <a:extLst>
              <a:ext uri="{FF2B5EF4-FFF2-40B4-BE49-F238E27FC236}">
                <a16:creationId xmlns:a16="http://schemas.microsoft.com/office/drawing/2014/main" id="{9E55ABB9-4C3B-F0B4-1982-D1A034BDB14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5364077" y="3146865"/>
            <a:ext cx="254257" cy="254257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BAF2A98F-F43F-34D2-1F5D-366A42312FF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268495" y="3146865"/>
            <a:ext cx="698400" cy="6984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1AFE52C-8178-0AAB-5984-50B2886379E8}"/>
              </a:ext>
            </a:extLst>
          </p:cNvPr>
          <p:cNvGrpSpPr/>
          <p:nvPr/>
        </p:nvGrpSpPr>
        <p:grpSpPr>
          <a:xfrm>
            <a:off x="6929502" y="929828"/>
            <a:ext cx="2074786" cy="476250"/>
            <a:chOff x="6775754" y="666150"/>
            <a:chExt cx="2074786" cy="47625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BCA6527-80D9-466C-9B7A-D34CA1130D32}"/>
                </a:ext>
              </a:extLst>
            </p:cNvPr>
            <p:cNvSpPr txBox="1"/>
            <p:nvPr/>
          </p:nvSpPr>
          <p:spPr>
            <a:xfrm>
              <a:off x="7013879" y="755548"/>
              <a:ext cx="1836661" cy="2974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de-DE" sz="1333" dirty="0">
                  <a:solidFill>
                    <a:srgbClr val="505861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Azure Subscription</a:t>
              </a:r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EAB8566E-AE91-B4B7-5475-F84FF8935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775754" y="666150"/>
              <a:ext cx="476250" cy="4762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5086838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1271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6D0F0B95-2292-94CE-3481-CC4ED41030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XYZ Gmb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411328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green trophy with a star and a check mark&#10;&#10;Description automatically generated">
            <a:extLst>
              <a:ext uri="{FF2B5EF4-FFF2-40B4-BE49-F238E27FC236}">
                <a16:creationId xmlns:a16="http://schemas.microsoft.com/office/drawing/2014/main" id="{39181A32-C34A-477F-DC55-5ADC2D23B0B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-2048" t="-10393" r="-3372" b="-10393"/>
          <a:stretch/>
        </p:blipFill>
        <p:spPr>
          <a:xfrm>
            <a:off x="6210300" y="0"/>
            <a:ext cx="59817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BAD2894-2574-C2BC-A4C7-C32FB5F51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–</a:t>
            </a:r>
            <a:br>
              <a:rPr lang="de-DE" dirty="0"/>
            </a:br>
            <a:r>
              <a:rPr lang="de-DE" dirty="0"/>
              <a:t>Veeam </a:t>
            </a: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1211229-C077-B2F3-53BA-9B9EB673E82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Mit Veeam:</a:t>
            </a:r>
          </a:p>
          <a:p>
            <a:pPr lvl="1"/>
            <a:r>
              <a:rPr lang="de-DE" dirty="0"/>
              <a:t>können Sie über verschiedene Plattformen hinweg sichern</a:t>
            </a:r>
          </a:p>
          <a:p>
            <a:pPr lvl="1"/>
            <a:r>
              <a:rPr lang="de-DE" dirty="0"/>
              <a:t>können Sie flexibel wiederherstellen, so wie sie es benötigen</a:t>
            </a:r>
          </a:p>
          <a:p>
            <a:pPr lvl="1"/>
            <a:r>
              <a:rPr lang="de-DE" dirty="0"/>
              <a:t>haben Sie keine Einschränkungen in Ihrer Backup Infrastruktur</a:t>
            </a:r>
          </a:p>
          <a:p>
            <a:pPr lvl="1"/>
            <a:r>
              <a:rPr lang="de-DE" dirty="0"/>
              <a:t>bleiben Sie im Besitz Ihrer Backup-Daten</a:t>
            </a:r>
          </a:p>
          <a:p>
            <a:pPr lvl="1"/>
            <a:r>
              <a:rPr lang="de-DE" dirty="0"/>
              <a:t>erhalten Sie auch abseits der Datensicherung hilfreiche Unterstützung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509733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green trophy with a star and a check mark&#10;&#10;Description automatically generated">
            <a:extLst>
              <a:ext uri="{FF2B5EF4-FFF2-40B4-BE49-F238E27FC236}">
                <a16:creationId xmlns:a16="http://schemas.microsoft.com/office/drawing/2014/main" id="{39181A32-C34A-477F-DC55-5ADC2D23B0B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-2048" t="-10393" r="-3372" b="-10393"/>
          <a:stretch/>
        </p:blipFill>
        <p:spPr>
          <a:xfrm>
            <a:off x="6210300" y="0"/>
            <a:ext cx="59817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BAD2894-2574-C2BC-A4C7-C32FB5F51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12" y="342900"/>
            <a:ext cx="5314806" cy="682625"/>
          </a:xfrm>
        </p:spPr>
        <p:txBody>
          <a:bodyPr/>
          <a:lstStyle/>
          <a:p>
            <a:r>
              <a:rPr lang="de-DE" dirty="0"/>
              <a:t>Zusammenfassung – </a:t>
            </a:r>
            <a:br>
              <a:rPr lang="de-DE" dirty="0"/>
            </a:br>
            <a:r>
              <a:rPr lang="de-DE" dirty="0">
                <a:solidFill>
                  <a:srgbClr val="FE8A25"/>
                </a:solidFill>
              </a:rPr>
              <a:t>Thomas-Krenn.AG </a:t>
            </a:r>
            <a:endParaRPr lang="en-US" dirty="0">
              <a:solidFill>
                <a:srgbClr val="FE8A25"/>
              </a:solidFill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1211229-C077-B2F3-53BA-9B9EB673E82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>
                <a:solidFill>
                  <a:srgbClr val="FE8A25"/>
                </a:solidFill>
              </a:rPr>
              <a:t>Thomas-Krenn.AG bietet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Server- und Storage-Produkte für jeden Einsatzzweck</a:t>
            </a:r>
          </a:p>
          <a:p>
            <a:pPr lvl="1"/>
            <a:r>
              <a:rPr lang="de-DE" dirty="0"/>
              <a:t>Qualität Made in Germany…</a:t>
            </a:r>
          </a:p>
          <a:p>
            <a:pPr lvl="1"/>
            <a:r>
              <a:rPr lang="de-DE" dirty="0"/>
              <a:t>Persönliche Ansprechpartner </a:t>
            </a:r>
          </a:p>
          <a:p>
            <a:pPr lvl="1"/>
            <a:r>
              <a:rPr lang="de-DE" dirty="0"/>
              <a:t>Auf Wunsch individuelle Sonderlösungen &amp; Server Branding</a:t>
            </a:r>
          </a:p>
          <a:p>
            <a:pPr lvl="1"/>
            <a:r>
              <a:rPr lang="de-DE" dirty="0"/>
              <a:t>Intelligenter Konfigurator</a:t>
            </a:r>
          </a:p>
          <a:p>
            <a:pPr lvl="1"/>
            <a:r>
              <a:rPr lang="de-DE" dirty="0"/>
              <a:t>Vorinstallationsservice</a:t>
            </a:r>
          </a:p>
          <a:p>
            <a:pPr lvl="1"/>
            <a:r>
              <a:rPr lang="de-DE" dirty="0"/>
              <a:t>Thomas-Krenn Wiki</a:t>
            </a:r>
          </a:p>
        </p:txBody>
      </p:sp>
    </p:spTree>
    <p:extLst>
      <p:ext uri="{BB962C8B-B14F-4D97-AF65-F5344CB8AC3E}">
        <p14:creationId xmlns:p14="http://schemas.microsoft.com/office/powerpoint/2010/main" val="309201418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E3222-7520-278B-0C1A-F3739993C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1719263"/>
            <a:ext cx="9620250" cy="3771899"/>
          </a:xfrm>
        </p:spPr>
        <p:txBody>
          <a:bodyPr/>
          <a:lstStyle/>
          <a:p>
            <a:r>
              <a:rPr lang="de-DE" sz="6000" dirty="0"/>
              <a:t>Wohin Ihre Reise auch geht, </a:t>
            </a:r>
            <a:br>
              <a:rPr lang="de-DE" sz="6000" dirty="0"/>
            </a:br>
            <a:r>
              <a:rPr lang="de-DE" sz="6000" dirty="0">
                <a:solidFill>
                  <a:srgbClr val="FE8A25"/>
                </a:solidFill>
              </a:rPr>
              <a:t>Thomas-Krenn.AG </a:t>
            </a:r>
            <a:r>
              <a:rPr lang="de-DE" sz="6000" dirty="0"/>
              <a:t>&amp;</a:t>
            </a:r>
            <a:r>
              <a:rPr lang="de-DE" sz="6000" dirty="0">
                <a:solidFill>
                  <a:srgbClr val="FE8A25"/>
                </a:solidFill>
              </a:rPr>
              <a:t> </a:t>
            </a:r>
            <a:r>
              <a:rPr lang="de-DE" sz="6000" dirty="0">
                <a:solidFill>
                  <a:srgbClr val="00D15F"/>
                </a:solidFill>
              </a:rPr>
              <a:t>Veeam</a:t>
            </a:r>
            <a:r>
              <a:rPr lang="de-DE" sz="6000" dirty="0">
                <a:solidFill>
                  <a:srgbClr val="FE8A25"/>
                </a:solidFill>
              </a:rPr>
              <a:t> </a:t>
            </a:r>
            <a:r>
              <a:rPr lang="de-DE" sz="6000" dirty="0"/>
              <a:t>unterstützen Sie </a:t>
            </a:r>
            <a:br>
              <a:rPr lang="de-DE" sz="6000" dirty="0"/>
            </a:br>
            <a:r>
              <a:rPr lang="de-DE" sz="6000" dirty="0"/>
              <a:t>auf Ihrem Weg!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3339346229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737041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IT der XYZ GmbH im Wandel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D8A81AC-A271-D788-17AF-83E425BAC548}"/>
              </a:ext>
            </a:extLst>
          </p:cNvPr>
          <p:cNvGrpSpPr/>
          <p:nvPr/>
        </p:nvGrpSpPr>
        <p:grpSpPr>
          <a:xfrm>
            <a:off x="784799" y="2297936"/>
            <a:ext cx="2648353" cy="2483276"/>
            <a:chOff x="784799" y="2297936"/>
            <a:chExt cx="2648353" cy="2483276"/>
          </a:xfrm>
        </p:grpSpPr>
        <p:pic>
          <p:nvPicPr>
            <p:cNvPr id="6" name="Graphic 5" descr="Notched Box with Shadow&#10;">
              <a:extLst>
                <a:ext uri="{FF2B5EF4-FFF2-40B4-BE49-F238E27FC236}">
                  <a16:creationId xmlns:a16="http://schemas.microsoft.com/office/drawing/2014/main" id="{AB1A90B8-C616-DEC0-E97A-4B7E0F5D58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-1805" r="-1234"/>
            <a:stretch/>
          </p:blipFill>
          <p:spPr>
            <a:xfrm>
              <a:off x="784799" y="2297936"/>
              <a:ext cx="2648353" cy="2483276"/>
            </a:xfrm>
            <a:prstGeom prst="rect">
              <a:avLst/>
            </a:prstGeom>
            <a:effectLst>
              <a:outerShdw blurRad="419100" sx="87159" sy="87159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1C025A6E-BF80-4790-4AC1-8178A7A84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8674" y="2577805"/>
              <a:ext cx="990000" cy="99000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C34AA3C-9DF3-5CCA-F125-9128A76200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099314" y="2577805"/>
              <a:ext cx="990000" cy="990000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DE7BE4EF-4C45-E28E-7269-4EEEA77693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612893" y="3571473"/>
              <a:ext cx="990000" cy="99000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7D4091-8974-C3D8-3088-DF4F3522F4BD}"/>
              </a:ext>
            </a:extLst>
          </p:cNvPr>
          <p:cNvGrpSpPr/>
          <p:nvPr/>
        </p:nvGrpSpPr>
        <p:grpSpPr>
          <a:xfrm>
            <a:off x="4756116" y="2297936"/>
            <a:ext cx="2648353" cy="2483276"/>
            <a:chOff x="4756116" y="2297936"/>
            <a:chExt cx="2648353" cy="2483276"/>
          </a:xfrm>
        </p:grpSpPr>
        <p:pic>
          <p:nvPicPr>
            <p:cNvPr id="5" name="Graphic 4" descr="Notched Box with Shadow&#10;">
              <a:extLst>
                <a:ext uri="{FF2B5EF4-FFF2-40B4-BE49-F238E27FC236}">
                  <a16:creationId xmlns:a16="http://schemas.microsoft.com/office/drawing/2014/main" id="{33136E24-1EEC-81A2-6C14-2044578DA3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-1805" r="-1234"/>
            <a:stretch/>
          </p:blipFill>
          <p:spPr>
            <a:xfrm>
              <a:off x="4756116" y="2297936"/>
              <a:ext cx="2648353" cy="2483276"/>
            </a:xfrm>
            <a:prstGeom prst="rect">
              <a:avLst/>
            </a:prstGeom>
            <a:effectLst>
              <a:outerShdw blurRad="419100" sx="87159" sy="87159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59F0845-969B-DC13-92D8-34809DE82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85548" y="2502734"/>
              <a:ext cx="989488" cy="989488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C1570CE8-E761-1E07-D3F6-C83CA7672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85548" y="3539574"/>
              <a:ext cx="989488" cy="989488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2E89AC4-501B-8806-5CF2-48467EE58F47}"/>
              </a:ext>
            </a:extLst>
          </p:cNvPr>
          <p:cNvGrpSpPr/>
          <p:nvPr/>
        </p:nvGrpSpPr>
        <p:grpSpPr>
          <a:xfrm>
            <a:off x="8727432" y="2297936"/>
            <a:ext cx="2648353" cy="2483276"/>
            <a:chOff x="8727432" y="2297936"/>
            <a:chExt cx="2648353" cy="2483276"/>
          </a:xfrm>
        </p:grpSpPr>
        <p:pic>
          <p:nvPicPr>
            <p:cNvPr id="7" name="Graphic 6" descr="Notched Box with Shadow&#10;">
              <a:extLst>
                <a:ext uri="{FF2B5EF4-FFF2-40B4-BE49-F238E27FC236}">
                  <a16:creationId xmlns:a16="http://schemas.microsoft.com/office/drawing/2014/main" id="{534F466D-506C-5D96-69AD-43EA549308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-1805" r="-1234"/>
            <a:stretch/>
          </p:blipFill>
          <p:spPr>
            <a:xfrm>
              <a:off x="8727432" y="2297936"/>
              <a:ext cx="2648353" cy="2483276"/>
            </a:xfrm>
            <a:prstGeom prst="rect">
              <a:avLst/>
            </a:prstGeom>
            <a:effectLst>
              <a:outerShdw blurRad="419100" sx="87159" sy="87159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0AE49CAA-75C7-21AA-474F-1D444273DA7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65808" y="2853774"/>
              <a:ext cx="1371600" cy="1371600"/>
            </a:xfrm>
            <a:prstGeom prst="rect">
              <a:avLst/>
            </a:prstGeom>
          </p:spPr>
        </p:pic>
      </p:grp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785D5B5-3151-12DF-DDD0-6321A04E4DED}"/>
              </a:ext>
            </a:extLst>
          </p:cNvPr>
          <p:cNvCxnSpPr>
            <a:stCxn id="6" idx="3"/>
            <a:endCxn id="5" idx="1"/>
          </p:cNvCxnSpPr>
          <p:nvPr/>
        </p:nvCxnSpPr>
        <p:spPr>
          <a:xfrm>
            <a:off x="3433152" y="3539574"/>
            <a:ext cx="1322964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0DA45F8-1DB7-8CE6-8062-3E177F320DAE}"/>
              </a:ext>
            </a:extLst>
          </p:cNvPr>
          <p:cNvCxnSpPr>
            <a:stCxn id="5" idx="3"/>
            <a:endCxn id="7" idx="1"/>
          </p:cNvCxnSpPr>
          <p:nvPr/>
        </p:nvCxnSpPr>
        <p:spPr>
          <a:xfrm>
            <a:off x="7404469" y="3539574"/>
            <a:ext cx="1322963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16487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 descr="Notched Box with Shadow&#10;">
            <a:extLst>
              <a:ext uri="{FF2B5EF4-FFF2-40B4-BE49-F238E27FC236}">
                <a16:creationId xmlns:a16="http://schemas.microsoft.com/office/drawing/2014/main" id="{8776EE6D-2965-34D5-4326-97AFAEF490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1805" r="-1234"/>
          <a:stretch/>
        </p:blipFill>
        <p:spPr>
          <a:xfrm>
            <a:off x="2780110" y="2958406"/>
            <a:ext cx="1782714" cy="1671594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pic>
        <p:nvPicPr>
          <p:cNvPr id="27" name="Graphic 4">
            <a:extLst>
              <a:ext uri="{FF2B5EF4-FFF2-40B4-BE49-F238E27FC236}">
                <a16:creationId xmlns:a16="http://schemas.microsoft.com/office/drawing/2014/main" id="{7E561B84-DA1A-434B-D908-AE13B318F7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5180" b="5180"/>
          <a:stretch/>
        </p:blipFill>
        <p:spPr>
          <a:xfrm>
            <a:off x="7291633" y="4117334"/>
            <a:ext cx="1719087" cy="1488846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IT der XYZ GmbH im Wandel</a:t>
            </a:r>
            <a:endParaRPr lang="en-US" dirty="0"/>
          </a:p>
        </p:txBody>
      </p:sp>
      <p:pic>
        <p:nvPicPr>
          <p:cNvPr id="25" name="Graphic 4">
            <a:extLst>
              <a:ext uri="{FF2B5EF4-FFF2-40B4-BE49-F238E27FC236}">
                <a16:creationId xmlns:a16="http://schemas.microsoft.com/office/drawing/2014/main" id="{EF088D8F-42A9-8AB4-36BA-ADDDDB4CAC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357" b="4357"/>
          <a:stretch/>
        </p:blipFill>
        <p:spPr>
          <a:xfrm>
            <a:off x="7291633" y="2166584"/>
            <a:ext cx="1719087" cy="1516201"/>
          </a:xfrm>
          <a:prstGeom prst="rect">
            <a:avLst/>
          </a:prstGeom>
          <a:effectLst>
            <a:outerShdw blurRad="419100" sx="87159" sy="87159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59F0845-969B-DC13-92D8-34809DE824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1176" y="4321757"/>
            <a:ext cx="1080000" cy="1080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0AE49CAA-75C7-21AA-474F-1D444273DA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57176" y="2330684"/>
            <a:ext cx="1188000" cy="118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C1C6E8E-1830-8786-8415-33614637CF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77467" y="3200203"/>
            <a:ext cx="1188000" cy="1188000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2AEA9A32-AF38-820C-CDE4-9705BE0AFEAC}"/>
              </a:ext>
            </a:extLst>
          </p:cNvPr>
          <p:cNvCxnSpPr>
            <a:stCxn id="8" idx="3"/>
            <a:endCxn id="25" idx="1"/>
          </p:cNvCxnSpPr>
          <p:nvPr/>
        </p:nvCxnSpPr>
        <p:spPr>
          <a:xfrm flipV="1">
            <a:off x="4562824" y="2924685"/>
            <a:ext cx="2728809" cy="869518"/>
          </a:xfrm>
          <a:prstGeom prst="bentConnector3">
            <a:avLst/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C0ECDA50-B1D9-BEF0-5850-389189C4E528}"/>
              </a:ext>
            </a:extLst>
          </p:cNvPr>
          <p:cNvCxnSpPr>
            <a:stCxn id="8" idx="3"/>
            <a:endCxn id="27" idx="1"/>
          </p:cNvCxnSpPr>
          <p:nvPr/>
        </p:nvCxnSpPr>
        <p:spPr>
          <a:xfrm>
            <a:off x="4562824" y="3794203"/>
            <a:ext cx="2728809" cy="1067554"/>
          </a:xfrm>
          <a:prstGeom prst="bentConnector3">
            <a:avLst/>
          </a:prstGeom>
          <a:ln w="12700" cap="rnd">
            <a:solidFill>
              <a:schemeClr val="accent2"/>
            </a:solidFill>
            <a:round/>
            <a:headEnd type="none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5961263-A91E-0E76-A14D-5EC8448326D6}"/>
              </a:ext>
            </a:extLst>
          </p:cNvPr>
          <p:cNvSpPr/>
          <p:nvPr/>
        </p:nvSpPr>
        <p:spPr>
          <a:xfrm>
            <a:off x="2060724" y="1733107"/>
            <a:ext cx="8070552" cy="4326202"/>
          </a:xfrm>
          <a:prstGeom prst="roundRect">
            <a:avLst>
              <a:gd name="adj" fmla="val 4943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dirty="0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5913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een question mark and blue squares&#10;&#10;Description automatically generated">
            <a:extLst>
              <a:ext uri="{FF2B5EF4-FFF2-40B4-BE49-F238E27FC236}">
                <a16:creationId xmlns:a16="http://schemas.microsoft.com/office/drawing/2014/main" id="{2B8E90F6-2DC1-CD5C-73BA-A155339A8DE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-3849" t="-10039" r="-4831" b="-14479"/>
          <a:stretch/>
        </p:blipFill>
        <p:spPr>
          <a:xfrm>
            <a:off x="6210300" y="0"/>
            <a:ext cx="59817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undenszenario 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376712-B125-DE39-3B08-D755A60E3B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IT der XYZ GmbH im Wandel</a:t>
            </a:r>
            <a:endParaRPr lang="en-US" dirty="0"/>
          </a:p>
        </p:txBody>
      </p:sp>
      <p:sp>
        <p:nvSpPr>
          <p:cNvPr id="35" name="Inhaltsplatzhalter 34">
            <a:extLst>
              <a:ext uri="{FF2B5EF4-FFF2-40B4-BE49-F238E27FC236}">
                <a16:creationId xmlns:a16="http://schemas.microsoft.com/office/drawing/2014/main" id="{8F110E3D-110F-05F6-A56F-41D44D3ECFD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2328529"/>
            <a:ext cx="5717012" cy="3840495"/>
          </a:xfrm>
        </p:spPr>
        <p:txBody>
          <a:bodyPr/>
          <a:lstStyle/>
          <a:p>
            <a:r>
              <a:rPr lang="de-DE" dirty="0"/>
              <a:t>Wie können Systeme zu Cloud „B“ und auf </a:t>
            </a:r>
            <a:r>
              <a:rPr lang="de-DE" dirty="0" err="1"/>
              <a:t>Virtualisierungs</a:t>
            </a:r>
            <a:r>
              <a:rPr lang="de-DE" dirty="0"/>
              <a:t>-Lösung „C“ migriert werden?</a:t>
            </a:r>
          </a:p>
          <a:p>
            <a:r>
              <a:rPr lang="de-DE" dirty="0"/>
              <a:t>Werden zusätzliche Backup-Lösungen benötigt?</a:t>
            </a:r>
          </a:p>
          <a:p>
            <a:r>
              <a:rPr lang="de-DE" dirty="0"/>
              <a:t>Können die Bestands-Backups noch wiederhergestellt werden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44332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green and blue arrows pointing to a server&#10;&#10;Description automatically generated">
            <a:extLst>
              <a:ext uri="{FF2B5EF4-FFF2-40B4-BE49-F238E27FC236}">
                <a16:creationId xmlns:a16="http://schemas.microsoft.com/office/drawing/2014/main" id="{715E614A-C881-8597-B09F-C9CE0D08B06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6389" r="6389"/>
          <a:stretch>
            <a:fillRect/>
          </a:stretch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02EA3BB-9610-9535-7372-00F25D67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Veeam‘s</a:t>
            </a:r>
            <a:r>
              <a:rPr lang="de-DE" dirty="0"/>
              <a:t> Ansatz</a:t>
            </a:r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3250CF2-9D95-6945-BF55-2FAA93E215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93288" y="1967023"/>
            <a:ext cx="5124452" cy="4202002"/>
          </a:xfrm>
        </p:spPr>
        <p:txBody>
          <a:bodyPr/>
          <a:lstStyle/>
          <a:p>
            <a:r>
              <a:rPr lang="de-DE" dirty="0"/>
              <a:t>Wir bieten Ihnen:</a:t>
            </a:r>
          </a:p>
          <a:p>
            <a:pPr lvl="1"/>
            <a:r>
              <a:rPr lang="de-DE" dirty="0"/>
              <a:t>Flexibilität in der Sicherung und Wiederherstellung</a:t>
            </a:r>
          </a:p>
          <a:p>
            <a:pPr lvl="1"/>
            <a:r>
              <a:rPr lang="de-DE" dirty="0"/>
              <a:t>Freiheit bei der Wahl der Backup-Infrastruktur</a:t>
            </a:r>
          </a:p>
          <a:p>
            <a:pPr lvl="1"/>
            <a:r>
              <a:rPr lang="de-DE" dirty="0"/>
              <a:t>Volle Mobilität Ihrer Backup-Daten</a:t>
            </a:r>
          </a:p>
          <a:p>
            <a:pPr lvl="1"/>
            <a:r>
              <a:rPr lang="de-DE" dirty="0"/>
              <a:t>Kein Vendor Lock-In</a:t>
            </a:r>
          </a:p>
          <a:p>
            <a:pPr marL="0"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178585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el 52">
            <a:extLst>
              <a:ext uri="{FF2B5EF4-FFF2-40B4-BE49-F238E27FC236}">
                <a16:creationId xmlns:a16="http://schemas.microsoft.com/office/drawing/2014/main" id="{90B38DA5-DE2C-CE93-4058-3C1EA31F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Multi-Plattform </a:t>
            </a:r>
            <a:r>
              <a:rPr lang="de-DE" dirty="0" err="1"/>
              <a:t>Disaster</a:t>
            </a:r>
            <a:r>
              <a:rPr lang="de-DE" dirty="0"/>
              <a:t> Recovery</a:t>
            </a:r>
            <a:endParaRPr lang="en-US" dirty="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8452B88-DB20-E2D8-E8C2-504CE09DF048}"/>
              </a:ext>
            </a:extLst>
          </p:cNvPr>
          <p:cNvGrpSpPr/>
          <p:nvPr/>
        </p:nvGrpSpPr>
        <p:grpSpPr>
          <a:xfrm>
            <a:off x="1277453" y="1025525"/>
            <a:ext cx="10567949" cy="5417937"/>
            <a:chOff x="1277453" y="1025525"/>
            <a:chExt cx="10567949" cy="5417937"/>
          </a:xfrm>
        </p:grpSpPr>
        <p:grpSp>
          <p:nvGrpSpPr>
            <p:cNvPr id="54" name="Группа 54">
              <a:extLst>
                <a:ext uri="{FF2B5EF4-FFF2-40B4-BE49-F238E27FC236}">
                  <a16:creationId xmlns:a16="http://schemas.microsoft.com/office/drawing/2014/main" id="{7E27465D-02F8-98F1-FFAF-3B5A85F0BB39}"/>
                </a:ext>
              </a:extLst>
            </p:cNvPr>
            <p:cNvGrpSpPr/>
            <p:nvPr/>
          </p:nvGrpSpPr>
          <p:grpSpPr>
            <a:xfrm>
              <a:off x="2800772" y="4827463"/>
              <a:ext cx="6791326" cy="1146148"/>
              <a:chOff x="2998787" y="4584425"/>
              <a:chExt cx="6791326" cy="1146148"/>
            </a:xfrm>
          </p:grpSpPr>
          <p:pic>
            <p:nvPicPr>
              <p:cNvPr id="55" name="Рисунок 26">
                <a:extLst>
                  <a:ext uri="{FF2B5EF4-FFF2-40B4-BE49-F238E27FC236}">
                    <a16:creationId xmlns:a16="http://schemas.microsoft.com/office/drawing/2014/main" id="{362730D8-CA29-70FC-C350-FE4D130AD7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388238" y="4584425"/>
                <a:ext cx="1233523" cy="1146148"/>
              </a:xfrm>
              <a:prstGeom prst="rect">
                <a:avLst/>
              </a:prstGeom>
            </p:spPr>
          </p:pic>
          <p:pic>
            <p:nvPicPr>
              <p:cNvPr id="57" name="Рисунок 27">
                <a:extLst>
                  <a:ext uri="{FF2B5EF4-FFF2-40B4-BE49-F238E27FC236}">
                    <a16:creationId xmlns:a16="http://schemas.microsoft.com/office/drawing/2014/main" id="{60B84350-9E2A-0C49-85EF-2AB78C6814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777689" y="4584425"/>
                <a:ext cx="1233523" cy="1146148"/>
              </a:xfrm>
              <a:prstGeom prst="rect">
                <a:avLst/>
              </a:prstGeom>
            </p:spPr>
          </p:pic>
          <p:pic>
            <p:nvPicPr>
              <p:cNvPr id="58" name="Рисунок 28">
                <a:extLst>
                  <a:ext uri="{FF2B5EF4-FFF2-40B4-BE49-F238E27FC236}">
                    <a16:creationId xmlns:a16="http://schemas.microsoft.com/office/drawing/2014/main" id="{DBFB763A-7337-8B8D-AFC4-657BA46834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167140" y="4584425"/>
                <a:ext cx="1233523" cy="1146148"/>
              </a:xfrm>
              <a:prstGeom prst="rect">
                <a:avLst/>
              </a:prstGeom>
            </p:spPr>
          </p:pic>
          <p:pic>
            <p:nvPicPr>
              <p:cNvPr id="59" name="Рисунок 29">
                <a:extLst>
                  <a:ext uri="{FF2B5EF4-FFF2-40B4-BE49-F238E27FC236}">
                    <a16:creationId xmlns:a16="http://schemas.microsoft.com/office/drawing/2014/main" id="{A55C773C-CD80-1897-3EF4-9A8F073E5F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556590" y="4584425"/>
                <a:ext cx="1233523" cy="1146148"/>
              </a:xfrm>
              <a:prstGeom prst="rect">
                <a:avLst/>
              </a:prstGeom>
            </p:spPr>
          </p:pic>
          <p:pic>
            <p:nvPicPr>
              <p:cNvPr id="60" name="Рисунок 30">
                <a:extLst>
                  <a:ext uri="{FF2B5EF4-FFF2-40B4-BE49-F238E27FC236}">
                    <a16:creationId xmlns:a16="http://schemas.microsoft.com/office/drawing/2014/main" id="{4CFEEC1A-A31E-8B0B-76C6-5B89B93E8E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998787" y="4584425"/>
                <a:ext cx="1233523" cy="1146148"/>
              </a:xfrm>
              <a:prstGeom prst="rect">
                <a:avLst/>
              </a:prstGeom>
            </p:spPr>
          </p:pic>
        </p:grpSp>
        <p:sp>
          <p:nvSpPr>
            <p:cNvPr id="61" name="Прямоугольник: скругленные углы 46">
              <a:extLst>
                <a:ext uri="{FF2B5EF4-FFF2-40B4-BE49-F238E27FC236}">
                  <a16:creationId xmlns:a16="http://schemas.microsoft.com/office/drawing/2014/main" id="{D9337550-0CD6-06F0-13F7-B0DC61C8AF50}"/>
                </a:ext>
              </a:extLst>
            </p:cNvPr>
            <p:cNvSpPr/>
            <p:nvPr/>
          </p:nvSpPr>
          <p:spPr>
            <a:xfrm>
              <a:off x="2857130" y="1025525"/>
              <a:ext cx="6670018" cy="3375786"/>
            </a:xfrm>
            <a:prstGeom prst="roundRect">
              <a:avLst>
                <a:gd name="adj" fmla="val 2829"/>
              </a:avLst>
            </a:prstGeom>
            <a:noFill/>
            <a:ln w="19050">
              <a:gradFill>
                <a:gsLst>
                  <a:gs pos="0">
                    <a:schemeClr val="accent2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ru-RU" dirty="0">
                <a:solidFill>
                  <a:schemeClr val="bg1"/>
                </a:solidFill>
                <a:latin typeface="ES Build" pitchFamily="50" charset="0"/>
                <a:cs typeface="Microsoft Sans Serif" panose="020B0604020202020204" pitchFamily="34" charset="0"/>
              </a:endParaRPr>
            </a:p>
          </p:txBody>
        </p:sp>
        <p:pic>
          <p:nvPicPr>
            <p:cNvPr id="62" name="Рисунок 48">
              <a:extLst>
                <a:ext uri="{FF2B5EF4-FFF2-40B4-BE49-F238E27FC236}">
                  <a16:creationId xmlns:a16="http://schemas.microsoft.com/office/drawing/2014/main" id="{3BDBCFB7-1854-AE59-674F-C43295B7A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9527883" y="4768763"/>
              <a:ext cx="1586603" cy="1266371"/>
            </a:xfrm>
            <a:prstGeom prst="rect">
              <a:avLst/>
            </a:prstGeom>
          </p:spPr>
        </p:pic>
        <p:pic>
          <p:nvPicPr>
            <p:cNvPr id="69" name="Рисунок 6">
              <a:extLst>
                <a:ext uri="{FF2B5EF4-FFF2-40B4-BE49-F238E27FC236}">
                  <a16:creationId xmlns:a16="http://schemas.microsoft.com/office/drawing/2014/main" id="{0B81C763-4748-C65F-D3CE-C1EDE1B08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02240" y="2097199"/>
              <a:ext cx="4579799" cy="503926"/>
            </a:xfrm>
            <a:prstGeom prst="rect">
              <a:avLst/>
            </a:prstGeom>
          </p:spPr>
        </p:pic>
        <p:pic>
          <p:nvPicPr>
            <p:cNvPr id="70" name="Рисунок 24">
              <a:extLst>
                <a:ext uri="{FF2B5EF4-FFF2-40B4-BE49-F238E27FC236}">
                  <a16:creationId xmlns:a16="http://schemas.microsoft.com/office/drawing/2014/main" id="{68818A0D-684B-C8B2-B6E9-CF111CFE3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02240" y="2739273"/>
              <a:ext cx="4579799" cy="503926"/>
            </a:xfrm>
            <a:prstGeom prst="rect">
              <a:avLst/>
            </a:prstGeom>
          </p:spPr>
        </p:pic>
        <p:pic>
          <p:nvPicPr>
            <p:cNvPr id="71" name="Рисунок 25">
              <a:extLst>
                <a:ext uri="{FF2B5EF4-FFF2-40B4-BE49-F238E27FC236}">
                  <a16:creationId xmlns:a16="http://schemas.microsoft.com/office/drawing/2014/main" id="{8092DAF3-E8D1-F97D-4AA9-78244BDEC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902240" y="3351224"/>
              <a:ext cx="4579799" cy="503926"/>
            </a:xfrm>
            <a:prstGeom prst="rect">
              <a:avLst/>
            </a:prstGeom>
          </p:spPr>
        </p:pic>
        <p:pic>
          <p:nvPicPr>
            <p:cNvPr id="72" name="Рисунок 32">
              <a:extLst>
                <a:ext uri="{FF2B5EF4-FFF2-40B4-BE49-F238E27FC236}">
                  <a16:creationId xmlns:a16="http://schemas.microsoft.com/office/drawing/2014/main" id="{C7D68400-B8D6-D854-CC07-9AEA806EE3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77453" y="4768763"/>
              <a:ext cx="1586603" cy="1266371"/>
            </a:xfrm>
            <a:prstGeom prst="rect">
              <a:avLst/>
            </a:prstGeom>
          </p:spPr>
        </p:pic>
        <p:pic>
          <p:nvPicPr>
            <p:cNvPr id="73" name="Рисунок 35">
              <a:extLst>
                <a:ext uri="{FF2B5EF4-FFF2-40B4-BE49-F238E27FC236}">
                  <a16:creationId xmlns:a16="http://schemas.microsoft.com/office/drawing/2014/main" id="{B9DAC92F-301F-4865-B358-A701E10B7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20865" y="4978147"/>
              <a:ext cx="638550" cy="512417"/>
            </a:xfrm>
            <a:prstGeom prst="rect">
              <a:avLst/>
            </a:prstGeom>
          </p:spPr>
        </p:pic>
        <p:pic>
          <p:nvPicPr>
            <p:cNvPr id="74" name="Рисунок 37">
              <a:extLst>
                <a:ext uri="{FF2B5EF4-FFF2-40B4-BE49-F238E27FC236}">
                  <a16:creationId xmlns:a16="http://schemas.microsoft.com/office/drawing/2014/main" id="{36E5183B-0BE6-5537-A47A-EEF85B47A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45741" y="4969693"/>
              <a:ext cx="575484" cy="575484"/>
            </a:xfrm>
            <a:prstGeom prst="rect">
              <a:avLst/>
            </a:prstGeom>
          </p:spPr>
        </p:pic>
        <p:pic>
          <p:nvPicPr>
            <p:cNvPr id="75" name="Рисунок 39">
              <a:extLst>
                <a:ext uri="{FF2B5EF4-FFF2-40B4-BE49-F238E27FC236}">
                  <a16:creationId xmlns:a16="http://schemas.microsoft.com/office/drawing/2014/main" id="{7998DCDD-092E-2BEB-C9C1-71765D1FAC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907386" y="4996433"/>
              <a:ext cx="583368" cy="575484"/>
            </a:xfrm>
            <a:prstGeom prst="rect">
              <a:avLst/>
            </a:prstGeom>
          </p:spPr>
        </p:pic>
        <p:pic>
          <p:nvPicPr>
            <p:cNvPr id="76" name="Рисунок 41">
              <a:extLst>
                <a:ext uri="{FF2B5EF4-FFF2-40B4-BE49-F238E27FC236}">
                  <a16:creationId xmlns:a16="http://schemas.microsoft.com/office/drawing/2014/main" id="{0EFDE6F7-49C6-9A1D-956C-DAED777A6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331853" y="4994229"/>
              <a:ext cx="536067" cy="575484"/>
            </a:xfrm>
            <a:prstGeom prst="rect">
              <a:avLst/>
            </a:prstGeom>
          </p:spPr>
        </p:pic>
        <p:pic>
          <p:nvPicPr>
            <p:cNvPr id="77" name="Рисунок 43">
              <a:extLst>
                <a:ext uri="{FF2B5EF4-FFF2-40B4-BE49-F238E27FC236}">
                  <a16:creationId xmlns:a16="http://schemas.microsoft.com/office/drawing/2014/main" id="{743794D0-244B-BB1D-E07D-37392237B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670059" y="4996433"/>
              <a:ext cx="638551" cy="567601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AC0A138-F035-90C6-C0B6-B161B8A3C65E}"/>
                </a:ext>
              </a:extLst>
            </p:cNvPr>
            <p:cNvSpPr txBox="1"/>
            <p:nvPr/>
          </p:nvSpPr>
          <p:spPr>
            <a:xfrm>
              <a:off x="4548683" y="6120297"/>
              <a:ext cx="3285807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500" b="1" kern="0" dirty="0">
                  <a:solidFill>
                    <a:srgbClr val="8E71F4"/>
                  </a:solidFill>
                  <a:sym typeface="Arial"/>
                </a:rPr>
                <a:t>Lokal</a:t>
              </a:r>
              <a:r>
                <a:rPr lang="de-DE" sz="1500" b="1" dirty="0">
                  <a:solidFill>
                    <a:srgbClr val="8E71F4"/>
                  </a:solidFill>
                </a:rPr>
                <a:t>  · </a:t>
              </a:r>
              <a:r>
                <a:rPr lang="de-DE" sz="1500" b="1" kern="0" dirty="0">
                  <a:solidFill>
                    <a:srgbClr val="8E71F4"/>
                  </a:solidFill>
                  <a:sym typeface="Arial"/>
                </a:rPr>
                <a:t>In der Cloud </a:t>
              </a:r>
              <a:r>
                <a:rPr lang="de-DE" sz="1500" b="1" dirty="0">
                  <a:solidFill>
                    <a:srgbClr val="8E71F4"/>
                  </a:solidFill>
                </a:rPr>
                <a:t>·  XaaS</a:t>
              </a:r>
              <a:endParaRPr lang="ru-RU" sz="1500" b="1" dirty="0">
                <a:solidFill>
                  <a:srgbClr val="8E71F4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A64A6953-F096-25AB-D14F-62F1F151C511}"/>
                </a:ext>
              </a:extLst>
            </p:cNvPr>
            <p:cNvSpPr txBox="1"/>
            <p:nvPr/>
          </p:nvSpPr>
          <p:spPr>
            <a:xfrm>
              <a:off x="3559287" y="1247967"/>
              <a:ext cx="5274297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800" dirty="0">
                  <a:solidFill>
                    <a:schemeClr val="accent1"/>
                  </a:solidFill>
                </a:rPr>
                <a:t>Veeam Data Platform</a:t>
              </a:r>
              <a:endParaRPr lang="ru-RU" sz="3800" dirty="0">
                <a:solidFill>
                  <a:schemeClr val="accent1"/>
                </a:solidFill>
              </a:endParaRPr>
            </a:p>
          </p:txBody>
        </p:sp>
        <p:pic>
          <p:nvPicPr>
            <p:cNvPr id="80" name="Рисунок 19">
              <a:extLst>
                <a:ext uri="{FF2B5EF4-FFF2-40B4-BE49-F238E27FC236}">
                  <a16:creationId xmlns:a16="http://schemas.microsoft.com/office/drawing/2014/main" id="{890DCEFB-932D-1D30-4CA7-96CD45FF3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883235" y="4211233"/>
              <a:ext cx="4617809" cy="398840"/>
            </a:xfrm>
            <a:prstGeom prst="rect">
              <a:avLst/>
            </a:prstGeom>
          </p:spPr>
        </p:pic>
        <p:pic>
          <p:nvPicPr>
            <p:cNvPr id="81" name="Рисунок 47">
              <a:extLst>
                <a:ext uri="{FF2B5EF4-FFF2-40B4-BE49-F238E27FC236}">
                  <a16:creationId xmlns:a16="http://schemas.microsoft.com/office/drawing/2014/main" id="{918241C4-A620-6284-AA70-3010158181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449493" y="4909344"/>
              <a:ext cx="244247" cy="148293"/>
            </a:xfrm>
            <a:prstGeom prst="rect">
              <a:avLst/>
            </a:prstGeom>
          </p:spPr>
        </p:pic>
        <p:pic>
          <p:nvPicPr>
            <p:cNvPr id="82" name="Рисунок 49">
              <a:extLst>
                <a:ext uri="{FF2B5EF4-FFF2-40B4-BE49-F238E27FC236}">
                  <a16:creationId xmlns:a16="http://schemas.microsoft.com/office/drawing/2014/main" id="{E6FAE3ED-0EA3-53E8-987A-62EEBA0E5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482765" y="5155824"/>
              <a:ext cx="191908" cy="174462"/>
            </a:xfrm>
            <a:prstGeom prst="rect">
              <a:avLst/>
            </a:prstGeom>
          </p:spPr>
        </p:pic>
        <p:pic>
          <p:nvPicPr>
            <p:cNvPr id="83" name="Рисунок 51">
              <a:extLst>
                <a:ext uri="{FF2B5EF4-FFF2-40B4-BE49-F238E27FC236}">
                  <a16:creationId xmlns:a16="http://schemas.microsoft.com/office/drawing/2014/main" id="{ED1AFA4A-9272-DFBA-60A4-C0814888B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1478068" y="5440832"/>
              <a:ext cx="226800" cy="183185"/>
            </a:xfrm>
            <a:prstGeom prst="rect">
              <a:avLst/>
            </a:prstGeom>
          </p:spPr>
        </p:pic>
        <p:pic>
          <p:nvPicPr>
            <p:cNvPr id="84" name="Рисунок 53">
              <a:extLst>
                <a:ext uri="{FF2B5EF4-FFF2-40B4-BE49-F238E27FC236}">
                  <a16:creationId xmlns:a16="http://schemas.microsoft.com/office/drawing/2014/main" id="{A3AEE167-A96C-706A-39C6-2D88A4119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1492355" y="5732596"/>
              <a:ext cx="200631" cy="200631"/>
            </a:xfrm>
            <a:prstGeom prst="rect">
              <a:avLst/>
            </a:prstGeom>
          </p:spPr>
        </p:pic>
        <p:pic>
          <p:nvPicPr>
            <p:cNvPr id="85" name="Рисунок 56">
              <a:extLst>
                <a:ext uri="{FF2B5EF4-FFF2-40B4-BE49-F238E27FC236}">
                  <a16:creationId xmlns:a16="http://schemas.microsoft.com/office/drawing/2014/main" id="{D7945416-8DF7-7D36-3B49-DE499ED6D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9891565" y="5114290"/>
              <a:ext cx="188632" cy="205035"/>
            </a:xfrm>
            <a:prstGeom prst="rect">
              <a:avLst/>
            </a:prstGeom>
          </p:spPr>
        </p:pic>
        <p:pic>
          <p:nvPicPr>
            <p:cNvPr id="86" name="Рисунок 58">
              <a:extLst>
                <a:ext uri="{FF2B5EF4-FFF2-40B4-BE49-F238E27FC236}">
                  <a16:creationId xmlns:a16="http://schemas.microsoft.com/office/drawing/2014/main" id="{030BB073-5ACE-A3E6-435E-0FD11799F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9858544" y="5549909"/>
              <a:ext cx="246042" cy="172229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53C636B-05BA-7D0D-BA1B-CE9E2CEB9E85}"/>
                </a:ext>
              </a:extLst>
            </p:cNvPr>
            <p:cNvSpPr txBox="1"/>
            <p:nvPr/>
          </p:nvSpPr>
          <p:spPr>
            <a:xfrm>
              <a:off x="9788954" y="4328845"/>
              <a:ext cx="20564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de-DE" sz="1000" kern="0" spc="13" dirty="0">
                  <a:cs typeface="Arial"/>
                  <a:sym typeface="Arial"/>
                </a:rPr>
                <a:t>PLATTFORM-</a:t>
              </a:r>
              <a:br>
                <a:rPr lang="en-US" sz="1000" kern="0" spc="13" dirty="0">
                  <a:cs typeface="Arial"/>
                  <a:sym typeface="Arial"/>
                </a:rPr>
              </a:br>
              <a:r>
                <a:rPr lang="de-DE" sz="1000" kern="0" spc="13" dirty="0">
                  <a:cs typeface="Arial"/>
                  <a:sym typeface="Arial"/>
                </a:rPr>
                <a:t>ERWEITERUNGEN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9B4D364-2225-F7AF-DEB9-954242A72912}"/>
                </a:ext>
              </a:extLst>
            </p:cNvPr>
            <p:cNvSpPr txBox="1"/>
            <p:nvPr/>
          </p:nvSpPr>
          <p:spPr>
            <a:xfrm>
              <a:off x="4170050" y="2100840"/>
              <a:ext cx="40441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400" b="1" kern="0" spc="13" dirty="0">
                  <a:solidFill>
                    <a:schemeClr val="accent1"/>
                  </a:solidFill>
                  <a:cs typeface="Arial"/>
                  <a:sym typeface="Arial"/>
                </a:rPr>
                <a:t>Bewährte Tools für die Wiederherstellungsorchestrierung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6B56668-7203-D577-8F4A-848478C40413}"/>
                </a:ext>
              </a:extLst>
            </p:cNvPr>
            <p:cNvSpPr txBox="1"/>
            <p:nvPr/>
          </p:nvSpPr>
          <p:spPr>
            <a:xfrm>
              <a:off x="4411969" y="2837347"/>
              <a:ext cx="37584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400" b="1" kern="0" spc="13" dirty="0">
                  <a:solidFill>
                    <a:schemeClr val="accent1"/>
                  </a:solidFill>
                  <a:cs typeface="Arial"/>
                  <a:sym typeface="Arial"/>
                </a:rPr>
                <a:t>Proaktive Monitoring - und Analyse-Tools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F76FE631-B87A-7742-310B-624E4CC93FC4}"/>
                </a:ext>
              </a:extLst>
            </p:cNvPr>
            <p:cNvSpPr txBox="1"/>
            <p:nvPr/>
          </p:nvSpPr>
          <p:spPr>
            <a:xfrm>
              <a:off x="4488943" y="3341918"/>
              <a:ext cx="36045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400" b="1" kern="0" spc="13" dirty="0">
                  <a:solidFill>
                    <a:schemeClr val="accent1"/>
                  </a:solidFill>
                  <a:cs typeface="Arial"/>
                  <a:sym typeface="Arial"/>
                </a:rPr>
                <a:t>Zuverlässige Sicherung und schnelle Wiederherstellung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0017F2B-3ADB-34BC-1C00-470C698754B7}"/>
                </a:ext>
              </a:extLst>
            </p:cNvPr>
            <p:cNvSpPr txBox="1"/>
            <p:nvPr/>
          </p:nvSpPr>
          <p:spPr>
            <a:xfrm>
              <a:off x="2816789" y="5600663"/>
              <a:ext cx="1247986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</a:rPr>
                <a:t>Cloud</a:t>
              </a:r>
              <a:endParaRPr lang="ru-RU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E09717D-E716-7272-D095-27577EAE3104}"/>
                </a:ext>
              </a:extLst>
            </p:cNvPr>
            <p:cNvSpPr txBox="1"/>
            <p:nvPr/>
          </p:nvSpPr>
          <p:spPr>
            <a:xfrm>
              <a:off x="4206085" y="5600663"/>
              <a:ext cx="1247986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300" b="1" kern="0" spc="13" dirty="0">
                  <a:solidFill>
                    <a:schemeClr val="bg1"/>
                  </a:solidFill>
                  <a:cs typeface="Arial"/>
                  <a:sym typeface="Arial"/>
                </a:rPr>
                <a:t>Virtuell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0533443-E3D7-FEA3-E4D3-4751B81AA85C}"/>
                </a:ext>
              </a:extLst>
            </p:cNvPr>
            <p:cNvSpPr txBox="1"/>
            <p:nvPr/>
          </p:nvSpPr>
          <p:spPr>
            <a:xfrm>
              <a:off x="4378254" y="4225823"/>
              <a:ext cx="36266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Native APIs</a:t>
              </a:r>
              <a:endParaRPr lang="ru-RU" b="1" dirty="0">
                <a:solidFill>
                  <a:schemeClr val="bg1"/>
                </a:solidFill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1A11F8E0-40EE-12DF-AD6C-8821C73DB7E6}"/>
                </a:ext>
              </a:extLst>
            </p:cNvPr>
            <p:cNvSpPr txBox="1"/>
            <p:nvPr/>
          </p:nvSpPr>
          <p:spPr>
            <a:xfrm>
              <a:off x="5587916" y="5600663"/>
              <a:ext cx="1247986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300" b="1" kern="0" spc="13" dirty="0">
                  <a:solidFill>
                    <a:schemeClr val="bg1"/>
                  </a:solidFill>
                  <a:cs typeface="Arial"/>
                  <a:sym typeface="Arial"/>
                </a:rPr>
                <a:t>Physisch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425CC3C6-E5C3-9CC0-DAA5-A8357071F64E}"/>
                </a:ext>
              </a:extLst>
            </p:cNvPr>
            <p:cNvSpPr txBox="1"/>
            <p:nvPr/>
          </p:nvSpPr>
          <p:spPr>
            <a:xfrm>
              <a:off x="6875607" y="5600663"/>
              <a:ext cx="1385938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de-DE" sz="1300" b="1" kern="0" spc="13" dirty="0">
                  <a:solidFill>
                    <a:schemeClr val="bg1"/>
                  </a:solidFill>
                  <a:cs typeface="Arial"/>
                  <a:sym typeface="Arial"/>
                </a:rPr>
                <a:t>Anwendungen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46E17C2-B8A5-1E6F-7212-6EDC7C68AC3F}"/>
                </a:ext>
              </a:extLst>
            </p:cNvPr>
            <p:cNvSpPr txBox="1"/>
            <p:nvPr/>
          </p:nvSpPr>
          <p:spPr>
            <a:xfrm>
              <a:off x="8340600" y="5600663"/>
              <a:ext cx="1247986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</a:rPr>
                <a:t>SaaS</a:t>
              </a:r>
              <a:endParaRPr lang="ru-RU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24BDF461-8AA2-F98B-90A3-D480B70007F4}"/>
                </a:ext>
              </a:extLst>
            </p:cNvPr>
            <p:cNvSpPr txBox="1"/>
            <p:nvPr/>
          </p:nvSpPr>
          <p:spPr>
            <a:xfrm>
              <a:off x="10080197" y="5089849"/>
              <a:ext cx="1003768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Microsoft 365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D25E5AA-EFBB-7B8E-102E-9BFA47C7DFA1}"/>
                </a:ext>
              </a:extLst>
            </p:cNvPr>
            <p:cNvSpPr txBox="1"/>
            <p:nvPr/>
          </p:nvSpPr>
          <p:spPr>
            <a:xfrm>
              <a:off x="1729117" y="5131126"/>
              <a:ext cx="11135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Azure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3184B586-EF6D-C471-C055-D7508990C970}"/>
                </a:ext>
              </a:extLst>
            </p:cNvPr>
            <p:cNvSpPr txBox="1"/>
            <p:nvPr/>
          </p:nvSpPr>
          <p:spPr>
            <a:xfrm>
              <a:off x="1715939" y="5419517"/>
              <a:ext cx="11135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Google Cloud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C178729-3476-71B4-964F-B6677774C8F5}"/>
                </a:ext>
              </a:extLst>
            </p:cNvPr>
            <p:cNvSpPr txBox="1"/>
            <p:nvPr/>
          </p:nvSpPr>
          <p:spPr>
            <a:xfrm>
              <a:off x="1715939" y="5707907"/>
              <a:ext cx="11135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Kubernetes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6BE85274-FE17-2681-3A5D-C8BEB48A06C6}"/>
                </a:ext>
              </a:extLst>
            </p:cNvPr>
            <p:cNvSpPr txBox="1"/>
            <p:nvPr/>
          </p:nvSpPr>
          <p:spPr>
            <a:xfrm>
              <a:off x="10080197" y="5510884"/>
              <a:ext cx="78716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Salesforce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224D963-29EB-E1C7-E3A9-52F445B0E0B5}"/>
                </a:ext>
              </a:extLst>
            </p:cNvPr>
            <p:cNvSpPr txBox="1"/>
            <p:nvPr/>
          </p:nvSpPr>
          <p:spPr>
            <a:xfrm>
              <a:off x="1729117" y="4842735"/>
              <a:ext cx="111355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chemeClr val="accent1"/>
                  </a:solidFill>
                </a:rPr>
                <a:t>AWS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068018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AE7310F-D031-E7B1-3B6D-A0FB0CF5A5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603958" y="724313"/>
            <a:ext cx="4645793" cy="4645793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1BE1956C-D229-222C-F16E-2E3119E0F5B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Clr>
                <a:srgbClr val="000000"/>
              </a:buClr>
              <a:buFont typeface="Arial"/>
            </a:pPr>
            <a:r>
              <a:rPr lang="de-DE" sz="2133" dirty="0">
                <a:solidFill>
                  <a:srgbClr val="00D15F"/>
                </a:solidFill>
              </a:rPr>
              <a:t>VUL bietet Freiheit und Flexibilität</a:t>
            </a:r>
            <a:endParaRPr lang="en-GB" sz="2133" dirty="0">
              <a:solidFill>
                <a:srgbClr val="00D15F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A523CA-2097-E9F8-6C81-305835AC3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dirty="0">
                <a:cs typeface="Arial"/>
              </a:rPr>
              <a:t>Was </a:t>
            </a:r>
            <a:r>
              <a:rPr lang="en-US" dirty="0" err="1">
                <a:cs typeface="Arial"/>
              </a:rPr>
              <a:t>bedeutet</a:t>
            </a:r>
            <a:r>
              <a:rPr lang="en-US" dirty="0">
                <a:cs typeface="Arial"/>
              </a:rPr>
              <a:t> Veeam Universal License (VUL)?</a:t>
            </a:r>
            <a:endParaRPr lang="en-US" dirty="0">
              <a:ea typeface="Tahoma"/>
              <a:cs typeface="Arial"/>
            </a:endParaRP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11491FB8-B931-CFEA-B6D2-EB7993B8AD6A}"/>
              </a:ext>
            </a:extLst>
          </p:cNvPr>
          <p:cNvSpPr txBox="1">
            <a:spLocks/>
          </p:cNvSpPr>
          <p:nvPr/>
        </p:nvSpPr>
        <p:spPr>
          <a:xfrm>
            <a:off x="414558" y="2022242"/>
            <a:ext cx="6669636" cy="4062651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>
            <a:defPPr>
              <a:defRPr lang="en-US"/>
            </a:defPPr>
            <a:lvl1pPr>
              <a:buClr>
                <a:srgbClr val="000000"/>
              </a:buClr>
              <a:buFont typeface="Arial"/>
              <a:defRPr sz="2400">
                <a:solidFill>
                  <a:srgbClr val="48515F"/>
                </a:solidFill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66693" indent="-266693" algn="l" defTabSz="68603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6057" indent="-213202" algn="l" defTabSz="686030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1800" kern="1200" spc="0" baseline="0"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16200000" scaled="0"/>
                  <a:tileRect/>
                </a:gradFill>
                <a:latin typeface="+mn-lt"/>
                <a:ea typeface="+mn-ea"/>
                <a:cs typeface="+mn-cs"/>
              </a:defRPr>
            </a:lvl3pPr>
            <a:lvl4pPr marL="1112462" indent="-167942" algn="l" defTabSz="686030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tabLst>
                <a:tab pos="686057" algn="l"/>
              </a:tabLst>
              <a:defRPr sz="1400" kern="1200" spc="0">
                <a:gradFill flip="none" rotWithShape="1">
                  <a:gsLst>
                    <a:gs pos="0">
                      <a:schemeClr val="bg1">
                        <a:lumMod val="50000"/>
                      </a:schemeClr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16200000" scaled="0"/>
                  <a:tileRect/>
                </a:gradFill>
                <a:latin typeface="+mn-lt"/>
                <a:ea typeface="+mn-ea"/>
                <a:cs typeface="+mn-cs"/>
              </a:defRPr>
            </a:lvl4pPr>
            <a:lvl5pPr marL="1285167" indent="-172706" algn="l" defTabSz="686030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18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1886582" indent="-171508" algn="l" defTabSz="6860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596" indent="-171508" algn="l" defTabSz="6860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612" indent="-171508" algn="l" defTabSz="6860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627" indent="-171508" algn="l" defTabSz="6860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rgbClr val="505861"/>
                </a:solidFill>
                <a:ea typeface="+mn-lt"/>
                <a:cs typeface="+mn-lt"/>
              </a:rPr>
              <a:t>Eine VUL ist eine übertragbare Lizenz für den Universaleinsatz in der Veeam Data </a:t>
            </a:r>
            <a:r>
              <a:rPr lang="de-DE" sz="1600" dirty="0" err="1">
                <a:solidFill>
                  <a:srgbClr val="505861"/>
                </a:solidFill>
                <a:ea typeface="+mn-lt"/>
                <a:cs typeface="+mn-lt"/>
              </a:rPr>
              <a:t>Platform</a:t>
            </a:r>
            <a:r>
              <a:rPr lang="de-DE" sz="1600" dirty="0">
                <a:solidFill>
                  <a:srgbClr val="505861"/>
                </a:solidFill>
                <a:ea typeface="+mn-lt"/>
                <a:cs typeface="+mn-lt"/>
              </a:rPr>
              <a:t> – über die unterschiedlichsten Workload-Typen hinweg.</a:t>
            </a:r>
            <a:endParaRPr lang="de-DE" sz="3200" dirty="0">
              <a:solidFill>
                <a:srgbClr val="505861"/>
              </a:solidFill>
              <a:ea typeface="+mn-lt"/>
              <a:cs typeface="+mn-lt"/>
            </a:endParaRPr>
          </a:p>
          <a:p>
            <a:endParaRPr lang="en-US" sz="1600" dirty="0">
              <a:solidFill>
                <a:srgbClr val="505861"/>
              </a:solidFill>
            </a:endParaRPr>
          </a:p>
          <a:p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Was </a:t>
            </a:r>
            <a:r>
              <a:rPr lang="en-US" sz="1600" dirty="0" err="1">
                <a:solidFill>
                  <a:srgbClr val="505861"/>
                </a:solidFill>
                <a:ea typeface="+mn-lt"/>
                <a:cs typeface="+mn-lt"/>
              </a:rPr>
              <a:t>können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 VULs </a:t>
            </a:r>
            <a:r>
              <a:rPr lang="en-US" sz="1600" dirty="0" err="1">
                <a:solidFill>
                  <a:srgbClr val="505861"/>
                </a:solidFill>
                <a:ea typeface="+mn-lt"/>
                <a:cs typeface="+mn-lt"/>
              </a:rPr>
              <a:t>sichern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:</a:t>
            </a:r>
          </a:p>
          <a:p>
            <a:endParaRPr lang="en-US" sz="1600" dirty="0">
              <a:solidFill>
                <a:srgbClr val="00D15F"/>
              </a:solidFill>
              <a:ea typeface="Tahoma"/>
              <a:cs typeface="Tahoma"/>
            </a:endParaRPr>
          </a:p>
          <a:p>
            <a:r>
              <a:rPr lang="en-US" sz="1600" b="1" dirty="0" err="1">
                <a:solidFill>
                  <a:srgbClr val="00D15F"/>
                </a:solidFill>
                <a:ea typeface="Tahoma"/>
                <a:cs typeface="Tahoma"/>
              </a:rPr>
              <a:t>Virtuell</a:t>
            </a:r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: 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VMware, Hyper-V, Nutanix AHV &amp; Red Hat Virtualization</a:t>
            </a:r>
          </a:p>
          <a:p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Cloud:</a:t>
            </a:r>
            <a:r>
              <a:rPr lang="en-US" sz="1600" b="1" dirty="0">
                <a:solidFill>
                  <a:srgbClr val="505861"/>
                </a:solidFill>
                <a:ea typeface="Tahoma"/>
                <a:cs typeface="Tahoma"/>
              </a:rPr>
              <a:t> 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AWS, Microsoft Azure und Google Cloud</a:t>
            </a:r>
          </a:p>
          <a:p>
            <a:r>
              <a:rPr lang="en-US" sz="1600" b="1" dirty="0" err="1">
                <a:solidFill>
                  <a:srgbClr val="00D15F"/>
                </a:solidFill>
                <a:ea typeface="Tahoma"/>
                <a:cs typeface="Tahoma"/>
              </a:rPr>
              <a:t>Physische</a:t>
            </a:r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 Server und Workstations: 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Microsoft Windows, Linux, Mac, IBM AIX und Oracle Solaris</a:t>
            </a:r>
          </a:p>
          <a:p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Enterprise-</a:t>
            </a:r>
            <a:r>
              <a:rPr lang="en-US" sz="1600" b="1" dirty="0" err="1">
                <a:solidFill>
                  <a:srgbClr val="00D15F"/>
                </a:solidFill>
                <a:ea typeface="Tahoma"/>
                <a:cs typeface="Tahoma"/>
              </a:rPr>
              <a:t>Anwendungen</a:t>
            </a:r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: </a:t>
            </a:r>
            <a:r>
              <a:rPr lang="en-US" sz="1600" dirty="0" err="1">
                <a:solidFill>
                  <a:srgbClr val="505861"/>
                </a:solidFill>
                <a:ea typeface="+mn-lt"/>
                <a:cs typeface="+mn-lt"/>
              </a:rPr>
              <a:t>wie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 Oracle RMAN </a:t>
            </a:r>
            <a:r>
              <a:rPr lang="en-US" sz="1600" dirty="0" err="1">
                <a:solidFill>
                  <a:srgbClr val="505861"/>
                </a:solidFill>
                <a:ea typeface="+mn-lt"/>
                <a:cs typeface="+mn-lt"/>
              </a:rPr>
              <a:t>oder</a:t>
            </a:r>
            <a:r>
              <a:rPr lang="en-US" sz="1600" dirty="0">
                <a:solidFill>
                  <a:srgbClr val="505861"/>
                </a:solidFill>
                <a:ea typeface="+mn-lt"/>
                <a:cs typeface="+mn-lt"/>
              </a:rPr>
              <a:t> SAP HANA</a:t>
            </a:r>
          </a:p>
          <a:p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NAS &amp; </a:t>
            </a:r>
            <a:r>
              <a:rPr lang="en-US" sz="1600" b="1" dirty="0" err="1">
                <a:solidFill>
                  <a:srgbClr val="00D15F"/>
                </a:solidFill>
                <a:ea typeface="Tahoma"/>
                <a:cs typeface="Tahoma"/>
              </a:rPr>
              <a:t>Objekt</a:t>
            </a:r>
            <a:r>
              <a:rPr lang="en-US" sz="1600" b="1" dirty="0">
                <a:solidFill>
                  <a:srgbClr val="00D15F"/>
                </a:solidFill>
                <a:ea typeface="Tahoma"/>
                <a:cs typeface="Tahoma"/>
              </a:rPr>
              <a:t> Speicher</a:t>
            </a:r>
          </a:p>
          <a:p>
            <a:endParaRPr lang="en-US" sz="1600" b="1" dirty="0"/>
          </a:p>
          <a:p>
            <a:endParaRPr lang="en-US" sz="1600" dirty="0">
              <a:solidFill>
                <a:srgbClr val="505861"/>
              </a:solidFill>
            </a:endParaRPr>
          </a:p>
          <a:p>
            <a:r>
              <a:rPr lang="de-DE" sz="1600" b="1" dirty="0">
                <a:solidFill>
                  <a:srgbClr val="505861"/>
                </a:solidFill>
                <a:ea typeface="Tahoma"/>
                <a:cs typeface="Tahoma"/>
              </a:rPr>
              <a:t>Wir empfehlen allen Unternehmen ein Upgrade auf VUL.</a:t>
            </a:r>
            <a:endParaRPr lang="en-US" sz="1600" dirty="0">
              <a:solidFill>
                <a:srgbClr val="505861"/>
              </a:solidFill>
            </a:endParaRPr>
          </a:p>
          <a:p>
            <a:endParaRPr lang="en-US" sz="1600" dirty="0"/>
          </a:p>
        </p:txBody>
      </p:sp>
      <p:sp>
        <p:nvSpPr>
          <p:cNvPr id="3" name="Freeform: Shape 5213">
            <a:extLst>
              <a:ext uri="{FF2B5EF4-FFF2-40B4-BE49-F238E27FC236}">
                <a16:creationId xmlns:a16="http://schemas.microsoft.com/office/drawing/2014/main" id="{3434EAFF-5DEB-7EE6-5550-64AC03A4861B}"/>
              </a:ext>
            </a:extLst>
          </p:cNvPr>
          <p:cNvSpPr/>
          <p:nvPr/>
        </p:nvSpPr>
        <p:spPr>
          <a:xfrm>
            <a:off x="8320841" y="4719995"/>
            <a:ext cx="3344980" cy="1416012"/>
          </a:xfrm>
          <a:custGeom>
            <a:avLst/>
            <a:gdLst>
              <a:gd name="connsiteX0" fmla="*/ 124264 w 11066400"/>
              <a:gd name="connsiteY0" fmla="*/ 0 h 3573314"/>
              <a:gd name="connsiteX1" fmla="*/ 6831711 w 11066400"/>
              <a:gd name="connsiteY1" fmla="*/ 0 h 3573314"/>
              <a:gd name="connsiteX2" fmla="*/ 6832557 w 11066400"/>
              <a:gd name="connsiteY2" fmla="*/ 0 h 3573314"/>
              <a:gd name="connsiteX3" fmla="*/ 8590456 w 11066400"/>
              <a:gd name="connsiteY3" fmla="*/ 0 h 3573314"/>
              <a:gd name="connsiteX4" fmla="*/ 8605804 w 11066400"/>
              <a:gd name="connsiteY4" fmla="*/ 0 h 3573314"/>
              <a:gd name="connsiteX5" fmla="*/ 8606651 w 11066400"/>
              <a:gd name="connsiteY5" fmla="*/ 0 h 3573314"/>
              <a:gd name="connsiteX6" fmla="*/ 10283375 w 11066400"/>
              <a:gd name="connsiteY6" fmla="*/ 0 h 3573314"/>
              <a:gd name="connsiteX7" fmla="*/ 10283462 w 11066400"/>
              <a:gd name="connsiteY7" fmla="*/ 18 h 3573314"/>
              <a:gd name="connsiteX8" fmla="*/ 10310357 w 11066400"/>
              <a:gd name="connsiteY8" fmla="*/ 12 h 3573314"/>
              <a:gd name="connsiteX9" fmla="*/ 10364549 w 11066400"/>
              <a:gd name="connsiteY9" fmla="*/ 0 h 3573314"/>
              <a:gd name="connsiteX10" fmla="*/ 10375869 w 11066400"/>
              <a:gd name="connsiteY10" fmla="*/ 1172 h 3573314"/>
              <a:gd name="connsiteX11" fmla="*/ 10392425 w 11066400"/>
              <a:gd name="connsiteY11" fmla="*/ 1172 h 3573314"/>
              <a:gd name="connsiteX12" fmla="*/ 10392424 w 11066400"/>
              <a:gd name="connsiteY12" fmla="*/ 2885 h 3573314"/>
              <a:gd name="connsiteX13" fmla="*/ 10423927 w 11066400"/>
              <a:gd name="connsiteY13" fmla="*/ 6147 h 3573314"/>
              <a:gd name="connsiteX14" fmla="*/ 10579055 w 11066400"/>
              <a:gd name="connsiteY14" fmla="*/ 89572 h 3573314"/>
              <a:gd name="connsiteX15" fmla="*/ 10973859 w 11066400"/>
              <a:gd name="connsiteY15" fmla="*/ 483608 h 3573314"/>
              <a:gd name="connsiteX16" fmla="*/ 11063605 w 11066400"/>
              <a:gd name="connsiteY16" fmla="*/ 697696 h 3573314"/>
              <a:gd name="connsiteX17" fmla="*/ 11063590 w 11066400"/>
              <a:gd name="connsiteY17" fmla="*/ 770767 h 3573314"/>
              <a:gd name="connsiteX18" fmla="*/ 11065983 w 11066400"/>
              <a:gd name="connsiteY18" fmla="*/ 770768 h 3573314"/>
              <a:gd name="connsiteX19" fmla="*/ 11065983 w 11066400"/>
              <a:gd name="connsiteY19" fmla="*/ 1629626 h 3573314"/>
              <a:gd name="connsiteX20" fmla="*/ 11066400 w 11066400"/>
              <a:gd name="connsiteY20" fmla="*/ 1631691 h 3573314"/>
              <a:gd name="connsiteX21" fmla="*/ 11066400 w 11066400"/>
              <a:gd name="connsiteY21" fmla="*/ 3447643 h 3573314"/>
              <a:gd name="connsiteX22" fmla="*/ 10940729 w 11066400"/>
              <a:gd name="connsiteY22" fmla="*/ 3573314 h 3573314"/>
              <a:gd name="connsiteX23" fmla="*/ 125671 w 11066400"/>
              <a:gd name="connsiteY23" fmla="*/ 3573314 h 3573314"/>
              <a:gd name="connsiteX24" fmla="*/ 0 w 11066400"/>
              <a:gd name="connsiteY24" fmla="*/ 3447643 h 3573314"/>
              <a:gd name="connsiteX25" fmla="*/ 0 w 11066400"/>
              <a:gd name="connsiteY25" fmla="*/ 1631691 h 3573314"/>
              <a:gd name="connsiteX26" fmla="*/ 417 w 11066400"/>
              <a:gd name="connsiteY26" fmla="*/ 1629626 h 3573314"/>
              <a:gd name="connsiteX27" fmla="*/ 417 w 11066400"/>
              <a:gd name="connsiteY27" fmla="*/ 123847 h 3573314"/>
              <a:gd name="connsiteX28" fmla="*/ 124264 w 11066400"/>
              <a:gd name="connsiteY28" fmla="*/ 0 h 3573314"/>
              <a:gd name="connsiteX0" fmla="*/ 145884 w 11088020"/>
              <a:gd name="connsiteY0" fmla="*/ 0 h 4651747"/>
              <a:gd name="connsiteX1" fmla="*/ 6853331 w 11088020"/>
              <a:gd name="connsiteY1" fmla="*/ 0 h 4651747"/>
              <a:gd name="connsiteX2" fmla="*/ 6854177 w 11088020"/>
              <a:gd name="connsiteY2" fmla="*/ 0 h 4651747"/>
              <a:gd name="connsiteX3" fmla="*/ 8612076 w 11088020"/>
              <a:gd name="connsiteY3" fmla="*/ 0 h 4651747"/>
              <a:gd name="connsiteX4" fmla="*/ 8627424 w 11088020"/>
              <a:gd name="connsiteY4" fmla="*/ 0 h 4651747"/>
              <a:gd name="connsiteX5" fmla="*/ 8628271 w 11088020"/>
              <a:gd name="connsiteY5" fmla="*/ 0 h 4651747"/>
              <a:gd name="connsiteX6" fmla="*/ 10304995 w 11088020"/>
              <a:gd name="connsiteY6" fmla="*/ 0 h 4651747"/>
              <a:gd name="connsiteX7" fmla="*/ 10305082 w 11088020"/>
              <a:gd name="connsiteY7" fmla="*/ 18 h 4651747"/>
              <a:gd name="connsiteX8" fmla="*/ 10331977 w 11088020"/>
              <a:gd name="connsiteY8" fmla="*/ 12 h 4651747"/>
              <a:gd name="connsiteX9" fmla="*/ 10386169 w 11088020"/>
              <a:gd name="connsiteY9" fmla="*/ 0 h 4651747"/>
              <a:gd name="connsiteX10" fmla="*/ 10397489 w 11088020"/>
              <a:gd name="connsiteY10" fmla="*/ 1172 h 4651747"/>
              <a:gd name="connsiteX11" fmla="*/ 10414045 w 11088020"/>
              <a:gd name="connsiteY11" fmla="*/ 1172 h 4651747"/>
              <a:gd name="connsiteX12" fmla="*/ 10414044 w 11088020"/>
              <a:gd name="connsiteY12" fmla="*/ 2885 h 4651747"/>
              <a:gd name="connsiteX13" fmla="*/ 10445547 w 11088020"/>
              <a:gd name="connsiteY13" fmla="*/ 6147 h 4651747"/>
              <a:gd name="connsiteX14" fmla="*/ 10600675 w 11088020"/>
              <a:gd name="connsiteY14" fmla="*/ 89572 h 4651747"/>
              <a:gd name="connsiteX15" fmla="*/ 10995479 w 11088020"/>
              <a:gd name="connsiteY15" fmla="*/ 483608 h 4651747"/>
              <a:gd name="connsiteX16" fmla="*/ 11085225 w 11088020"/>
              <a:gd name="connsiteY16" fmla="*/ 697696 h 4651747"/>
              <a:gd name="connsiteX17" fmla="*/ 11085210 w 11088020"/>
              <a:gd name="connsiteY17" fmla="*/ 770767 h 4651747"/>
              <a:gd name="connsiteX18" fmla="*/ 11087603 w 11088020"/>
              <a:gd name="connsiteY18" fmla="*/ 770768 h 4651747"/>
              <a:gd name="connsiteX19" fmla="*/ 11087603 w 11088020"/>
              <a:gd name="connsiteY19" fmla="*/ 1629626 h 4651747"/>
              <a:gd name="connsiteX20" fmla="*/ 11088020 w 11088020"/>
              <a:gd name="connsiteY20" fmla="*/ 1631691 h 4651747"/>
              <a:gd name="connsiteX21" fmla="*/ 11088020 w 11088020"/>
              <a:gd name="connsiteY21" fmla="*/ 3447643 h 4651747"/>
              <a:gd name="connsiteX22" fmla="*/ 10962349 w 11088020"/>
              <a:gd name="connsiteY22" fmla="*/ 3573314 h 4651747"/>
              <a:gd name="connsiteX23" fmla="*/ 34619 w 11088020"/>
              <a:gd name="connsiteY23" fmla="*/ 4651747 h 4651747"/>
              <a:gd name="connsiteX24" fmla="*/ 21620 w 11088020"/>
              <a:gd name="connsiteY24" fmla="*/ 3447643 h 4651747"/>
              <a:gd name="connsiteX25" fmla="*/ 21620 w 11088020"/>
              <a:gd name="connsiteY25" fmla="*/ 1631691 h 4651747"/>
              <a:gd name="connsiteX26" fmla="*/ 22037 w 11088020"/>
              <a:gd name="connsiteY26" fmla="*/ 1629626 h 4651747"/>
              <a:gd name="connsiteX27" fmla="*/ 22037 w 11088020"/>
              <a:gd name="connsiteY27" fmla="*/ 123847 h 4651747"/>
              <a:gd name="connsiteX28" fmla="*/ 145884 w 11088020"/>
              <a:gd name="connsiteY28" fmla="*/ 0 h 4651747"/>
              <a:gd name="connsiteX0" fmla="*/ 145884 w 11109640"/>
              <a:gd name="connsiteY0" fmla="*/ 0 h 4651747"/>
              <a:gd name="connsiteX1" fmla="*/ 6853331 w 11109640"/>
              <a:gd name="connsiteY1" fmla="*/ 0 h 4651747"/>
              <a:gd name="connsiteX2" fmla="*/ 6854177 w 11109640"/>
              <a:gd name="connsiteY2" fmla="*/ 0 h 4651747"/>
              <a:gd name="connsiteX3" fmla="*/ 8612076 w 11109640"/>
              <a:gd name="connsiteY3" fmla="*/ 0 h 4651747"/>
              <a:gd name="connsiteX4" fmla="*/ 8627424 w 11109640"/>
              <a:gd name="connsiteY4" fmla="*/ 0 h 4651747"/>
              <a:gd name="connsiteX5" fmla="*/ 8628271 w 11109640"/>
              <a:gd name="connsiteY5" fmla="*/ 0 h 4651747"/>
              <a:gd name="connsiteX6" fmla="*/ 10304995 w 11109640"/>
              <a:gd name="connsiteY6" fmla="*/ 0 h 4651747"/>
              <a:gd name="connsiteX7" fmla="*/ 10305082 w 11109640"/>
              <a:gd name="connsiteY7" fmla="*/ 18 h 4651747"/>
              <a:gd name="connsiteX8" fmla="*/ 10331977 w 11109640"/>
              <a:gd name="connsiteY8" fmla="*/ 12 h 4651747"/>
              <a:gd name="connsiteX9" fmla="*/ 10386169 w 11109640"/>
              <a:gd name="connsiteY9" fmla="*/ 0 h 4651747"/>
              <a:gd name="connsiteX10" fmla="*/ 10397489 w 11109640"/>
              <a:gd name="connsiteY10" fmla="*/ 1172 h 4651747"/>
              <a:gd name="connsiteX11" fmla="*/ 10414045 w 11109640"/>
              <a:gd name="connsiteY11" fmla="*/ 1172 h 4651747"/>
              <a:gd name="connsiteX12" fmla="*/ 10414044 w 11109640"/>
              <a:gd name="connsiteY12" fmla="*/ 2885 h 4651747"/>
              <a:gd name="connsiteX13" fmla="*/ 10445547 w 11109640"/>
              <a:gd name="connsiteY13" fmla="*/ 6147 h 4651747"/>
              <a:gd name="connsiteX14" fmla="*/ 10600675 w 11109640"/>
              <a:gd name="connsiteY14" fmla="*/ 89572 h 4651747"/>
              <a:gd name="connsiteX15" fmla="*/ 10995479 w 11109640"/>
              <a:gd name="connsiteY15" fmla="*/ 483608 h 4651747"/>
              <a:gd name="connsiteX16" fmla="*/ 11085225 w 11109640"/>
              <a:gd name="connsiteY16" fmla="*/ 697696 h 4651747"/>
              <a:gd name="connsiteX17" fmla="*/ 11085210 w 11109640"/>
              <a:gd name="connsiteY17" fmla="*/ 770767 h 4651747"/>
              <a:gd name="connsiteX18" fmla="*/ 11087603 w 11109640"/>
              <a:gd name="connsiteY18" fmla="*/ 770768 h 4651747"/>
              <a:gd name="connsiteX19" fmla="*/ 11087603 w 11109640"/>
              <a:gd name="connsiteY19" fmla="*/ 1629626 h 4651747"/>
              <a:gd name="connsiteX20" fmla="*/ 11088020 w 11109640"/>
              <a:gd name="connsiteY20" fmla="*/ 1631691 h 4651747"/>
              <a:gd name="connsiteX21" fmla="*/ 11088020 w 11109640"/>
              <a:gd name="connsiteY21" fmla="*/ 3447643 h 4651747"/>
              <a:gd name="connsiteX22" fmla="*/ 11075022 w 11109640"/>
              <a:gd name="connsiteY22" fmla="*/ 4643700 h 4651747"/>
              <a:gd name="connsiteX23" fmla="*/ 34619 w 11109640"/>
              <a:gd name="connsiteY23" fmla="*/ 4651747 h 4651747"/>
              <a:gd name="connsiteX24" fmla="*/ 21620 w 11109640"/>
              <a:gd name="connsiteY24" fmla="*/ 3447643 h 4651747"/>
              <a:gd name="connsiteX25" fmla="*/ 21620 w 11109640"/>
              <a:gd name="connsiteY25" fmla="*/ 1631691 h 4651747"/>
              <a:gd name="connsiteX26" fmla="*/ 22037 w 11109640"/>
              <a:gd name="connsiteY26" fmla="*/ 1629626 h 4651747"/>
              <a:gd name="connsiteX27" fmla="*/ 22037 w 11109640"/>
              <a:gd name="connsiteY27" fmla="*/ 123847 h 4651747"/>
              <a:gd name="connsiteX28" fmla="*/ 145884 w 11109640"/>
              <a:gd name="connsiteY28" fmla="*/ 0 h 4651747"/>
              <a:gd name="connsiteX0" fmla="*/ 145884 w 11088020"/>
              <a:gd name="connsiteY0" fmla="*/ 0 h 4651747"/>
              <a:gd name="connsiteX1" fmla="*/ 6853331 w 11088020"/>
              <a:gd name="connsiteY1" fmla="*/ 0 h 4651747"/>
              <a:gd name="connsiteX2" fmla="*/ 6854177 w 11088020"/>
              <a:gd name="connsiteY2" fmla="*/ 0 h 4651747"/>
              <a:gd name="connsiteX3" fmla="*/ 8612076 w 11088020"/>
              <a:gd name="connsiteY3" fmla="*/ 0 h 4651747"/>
              <a:gd name="connsiteX4" fmla="*/ 8627424 w 11088020"/>
              <a:gd name="connsiteY4" fmla="*/ 0 h 4651747"/>
              <a:gd name="connsiteX5" fmla="*/ 8628271 w 11088020"/>
              <a:gd name="connsiteY5" fmla="*/ 0 h 4651747"/>
              <a:gd name="connsiteX6" fmla="*/ 10304995 w 11088020"/>
              <a:gd name="connsiteY6" fmla="*/ 0 h 4651747"/>
              <a:gd name="connsiteX7" fmla="*/ 10305082 w 11088020"/>
              <a:gd name="connsiteY7" fmla="*/ 18 h 4651747"/>
              <a:gd name="connsiteX8" fmla="*/ 10331977 w 11088020"/>
              <a:gd name="connsiteY8" fmla="*/ 12 h 4651747"/>
              <a:gd name="connsiteX9" fmla="*/ 10386169 w 11088020"/>
              <a:gd name="connsiteY9" fmla="*/ 0 h 4651747"/>
              <a:gd name="connsiteX10" fmla="*/ 10397489 w 11088020"/>
              <a:gd name="connsiteY10" fmla="*/ 1172 h 4651747"/>
              <a:gd name="connsiteX11" fmla="*/ 10414045 w 11088020"/>
              <a:gd name="connsiteY11" fmla="*/ 1172 h 4651747"/>
              <a:gd name="connsiteX12" fmla="*/ 10414044 w 11088020"/>
              <a:gd name="connsiteY12" fmla="*/ 2885 h 4651747"/>
              <a:gd name="connsiteX13" fmla="*/ 10445547 w 11088020"/>
              <a:gd name="connsiteY13" fmla="*/ 6147 h 4651747"/>
              <a:gd name="connsiteX14" fmla="*/ 10600675 w 11088020"/>
              <a:gd name="connsiteY14" fmla="*/ 89572 h 4651747"/>
              <a:gd name="connsiteX15" fmla="*/ 10995479 w 11088020"/>
              <a:gd name="connsiteY15" fmla="*/ 483608 h 4651747"/>
              <a:gd name="connsiteX16" fmla="*/ 11085225 w 11088020"/>
              <a:gd name="connsiteY16" fmla="*/ 697696 h 4651747"/>
              <a:gd name="connsiteX17" fmla="*/ 11085210 w 11088020"/>
              <a:gd name="connsiteY17" fmla="*/ 770767 h 4651747"/>
              <a:gd name="connsiteX18" fmla="*/ 11087603 w 11088020"/>
              <a:gd name="connsiteY18" fmla="*/ 770768 h 4651747"/>
              <a:gd name="connsiteX19" fmla="*/ 11087603 w 11088020"/>
              <a:gd name="connsiteY19" fmla="*/ 1629626 h 4651747"/>
              <a:gd name="connsiteX20" fmla="*/ 11088020 w 11088020"/>
              <a:gd name="connsiteY20" fmla="*/ 1631691 h 4651747"/>
              <a:gd name="connsiteX21" fmla="*/ 11088020 w 11088020"/>
              <a:gd name="connsiteY21" fmla="*/ 3447643 h 4651747"/>
              <a:gd name="connsiteX22" fmla="*/ 11075022 w 11088020"/>
              <a:gd name="connsiteY22" fmla="*/ 4643700 h 4651747"/>
              <a:gd name="connsiteX23" fmla="*/ 34619 w 11088020"/>
              <a:gd name="connsiteY23" fmla="*/ 4651747 h 4651747"/>
              <a:gd name="connsiteX24" fmla="*/ 21620 w 11088020"/>
              <a:gd name="connsiteY24" fmla="*/ 3447643 h 4651747"/>
              <a:gd name="connsiteX25" fmla="*/ 21620 w 11088020"/>
              <a:gd name="connsiteY25" fmla="*/ 1631691 h 4651747"/>
              <a:gd name="connsiteX26" fmla="*/ 22037 w 11088020"/>
              <a:gd name="connsiteY26" fmla="*/ 1629626 h 4651747"/>
              <a:gd name="connsiteX27" fmla="*/ 22037 w 11088020"/>
              <a:gd name="connsiteY27" fmla="*/ 123847 h 4651747"/>
              <a:gd name="connsiteX28" fmla="*/ 145884 w 11088020"/>
              <a:gd name="connsiteY28" fmla="*/ 0 h 4651747"/>
              <a:gd name="connsiteX0" fmla="*/ 145884 w 11139406"/>
              <a:gd name="connsiteY0" fmla="*/ 0 h 4651747"/>
              <a:gd name="connsiteX1" fmla="*/ 6853331 w 11139406"/>
              <a:gd name="connsiteY1" fmla="*/ 0 h 4651747"/>
              <a:gd name="connsiteX2" fmla="*/ 6854177 w 11139406"/>
              <a:gd name="connsiteY2" fmla="*/ 0 h 4651747"/>
              <a:gd name="connsiteX3" fmla="*/ 8612076 w 11139406"/>
              <a:gd name="connsiteY3" fmla="*/ 0 h 4651747"/>
              <a:gd name="connsiteX4" fmla="*/ 8627424 w 11139406"/>
              <a:gd name="connsiteY4" fmla="*/ 0 h 4651747"/>
              <a:gd name="connsiteX5" fmla="*/ 8628271 w 11139406"/>
              <a:gd name="connsiteY5" fmla="*/ 0 h 4651747"/>
              <a:gd name="connsiteX6" fmla="*/ 10304995 w 11139406"/>
              <a:gd name="connsiteY6" fmla="*/ 0 h 4651747"/>
              <a:gd name="connsiteX7" fmla="*/ 10305082 w 11139406"/>
              <a:gd name="connsiteY7" fmla="*/ 18 h 4651747"/>
              <a:gd name="connsiteX8" fmla="*/ 10331977 w 11139406"/>
              <a:gd name="connsiteY8" fmla="*/ 12 h 4651747"/>
              <a:gd name="connsiteX9" fmla="*/ 10386169 w 11139406"/>
              <a:gd name="connsiteY9" fmla="*/ 0 h 4651747"/>
              <a:gd name="connsiteX10" fmla="*/ 10397489 w 11139406"/>
              <a:gd name="connsiteY10" fmla="*/ 1172 h 4651747"/>
              <a:gd name="connsiteX11" fmla="*/ 10414045 w 11139406"/>
              <a:gd name="connsiteY11" fmla="*/ 1172 h 4651747"/>
              <a:gd name="connsiteX12" fmla="*/ 10414044 w 11139406"/>
              <a:gd name="connsiteY12" fmla="*/ 2885 h 4651747"/>
              <a:gd name="connsiteX13" fmla="*/ 10445547 w 11139406"/>
              <a:gd name="connsiteY13" fmla="*/ 6147 h 4651747"/>
              <a:gd name="connsiteX14" fmla="*/ 10600675 w 11139406"/>
              <a:gd name="connsiteY14" fmla="*/ 89572 h 4651747"/>
              <a:gd name="connsiteX15" fmla="*/ 10995479 w 11139406"/>
              <a:gd name="connsiteY15" fmla="*/ 483608 h 4651747"/>
              <a:gd name="connsiteX16" fmla="*/ 11085225 w 11139406"/>
              <a:gd name="connsiteY16" fmla="*/ 697696 h 4651747"/>
              <a:gd name="connsiteX17" fmla="*/ 11085210 w 11139406"/>
              <a:gd name="connsiteY17" fmla="*/ 770767 h 4651747"/>
              <a:gd name="connsiteX18" fmla="*/ 11087603 w 11139406"/>
              <a:gd name="connsiteY18" fmla="*/ 770768 h 4651747"/>
              <a:gd name="connsiteX19" fmla="*/ 11087603 w 11139406"/>
              <a:gd name="connsiteY19" fmla="*/ 1629626 h 4651747"/>
              <a:gd name="connsiteX20" fmla="*/ 11088020 w 11139406"/>
              <a:gd name="connsiteY20" fmla="*/ 1631691 h 4651747"/>
              <a:gd name="connsiteX21" fmla="*/ 11088020 w 11139406"/>
              <a:gd name="connsiteY21" fmla="*/ 3447643 h 4651747"/>
              <a:gd name="connsiteX22" fmla="*/ 11139406 w 11139406"/>
              <a:gd name="connsiteY22" fmla="*/ 4643700 h 4651747"/>
              <a:gd name="connsiteX23" fmla="*/ 34619 w 11139406"/>
              <a:gd name="connsiteY23" fmla="*/ 4651747 h 4651747"/>
              <a:gd name="connsiteX24" fmla="*/ 21620 w 11139406"/>
              <a:gd name="connsiteY24" fmla="*/ 3447643 h 4651747"/>
              <a:gd name="connsiteX25" fmla="*/ 21620 w 11139406"/>
              <a:gd name="connsiteY25" fmla="*/ 1631691 h 4651747"/>
              <a:gd name="connsiteX26" fmla="*/ 22037 w 11139406"/>
              <a:gd name="connsiteY26" fmla="*/ 1629626 h 4651747"/>
              <a:gd name="connsiteX27" fmla="*/ 22037 w 11139406"/>
              <a:gd name="connsiteY27" fmla="*/ 123847 h 4651747"/>
              <a:gd name="connsiteX28" fmla="*/ 145884 w 11139406"/>
              <a:gd name="connsiteY28" fmla="*/ 0 h 4651747"/>
              <a:gd name="connsiteX0" fmla="*/ 145884 w 11187694"/>
              <a:gd name="connsiteY0" fmla="*/ 0 h 4691988"/>
              <a:gd name="connsiteX1" fmla="*/ 6853331 w 11187694"/>
              <a:gd name="connsiteY1" fmla="*/ 0 h 4691988"/>
              <a:gd name="connsiteX2" fmla="*/ 6854177 w 11187694"/>
              <a:gd name="connsiteY2" fmla="*/ 0 h 4691988"/>
              <a:gd name="connsiteX3" fmla="*/ 8612076 w 11187694"/>
              <a:gd name="connsiteY3" fmla="*/ 0 h 4691988"/>
              <a:gd name="connsiteX4" fmla="*/ 8627424 w 11187694"/>
              <a:gd name="connsiteY4" fmla="*/ 0 h 4691988"/>
              <a:gd name="connsiteX5" fmla="*/ 8628271 w 11187694"/>
              <a:gd name="connsiteY5" fmla="*/ 0 h 4691988"/>
              <a:gd name="connsiteX6" fmla="*/ 10304995 w 11187694"/>
              <a:gd name="connsiteY6" fmla="*/ 0 h 4691988"/>
              <a:gd name="connsiteX7" fmla="*/ 10305082 w 11187694"/>
              <a:gd name="connsiteY7" fmla="*/ 18 h 4691988"/>
              <a:gd name="connsiteX8" fmla="*/ 10331977 w 11187694"/>
              <a:gd name="connsiteY8" fmla="*/ 12 h 4691988"/>
              <a:gd name="connsiteX9" fmla="*/ 10386169 w 11187694"/>
              <a:gd name="connsiteY9" fmla="*/ 0 h 4691988"/>
              <a:gd name="connsiteX10" fmla="*/ 10397489 w 11187694"/>
              <a:gd name="connsiteY10" fmla="*/ 1172 h 4691988"/>
              <a:gd name="connsiteX11" fmla="*/ 10414045 w 11187694"/>
              <a:gd name="connsiteY11" fmla="*/ 1172 h 4691988"/>
              <a:gd name="connsiteX12" fmla="*/ 10414044 w 11187694"/>
              <a:gd name="connsiteY12" fmla="*/ 2885 h 4691988"/>
              <a:gd name="connsiteX13" fmla="*/ 10445547 w 11187694"/>
              <a:gd name="connsiteY13" fmla="*/ 6147 h 4691988"/>
              <a:gd name="connsiteX14" fmla="*/ 10600675 w 11187694"/>
              <a:gd name="connsiteY14" fmla="*/ 89572 h 4691988"/>
              <a:gd name="connsiteX15" fmla="*/ 10995479 w 11187694"/>
              <a:gd name="connsiteY15" fmla="*/ 483608 h 4691988"/>
              <a:gd name="connsiteX16" fmla="*/ 11085225 w 11187694"/>
              <a:gd name="connsiteY16" fmla="*/ 697696 h 4691988"/>
              <a:gd name="connsiteX17" fmla="*/ 11085210 w 11187694"/>
              <a:gd name="connsiteY17" fmla="*/ 770767 h 4691988"/>
              <a:gd name="connsiteX18" fmla="*/ 11087603 w 11187694"/>
              <a:gd name="connsiteY18" fmla="*/ 770768 h 4691988"/>
              <a:gd name="connsiteX19" fmla="*/ 11087603 w 11187694"/>
              <a:gd name="connsiteY19" fmla="*/ 1629626 h 4691988"/>
              <a:gd name="connsiteX20" fmla="*/ 11088020 w 11187694"/>
              <a:gd name="connsiteY20" fmla="*/ 1631691 h 4691988"/>
              <a:gd name="connsiteX21" fmla="*/ 11088020 w 11187694"/>
              <a:gd name="connsiteY21" fmla="*/ 3447643 h 4691988"/>
              <a:gd name="connsiteX22" fmla="*/ 11187694 w 11187694"/>
              <a:gd name="connsiteY22" fmla="*/ 4691988 h 4691988"/>
              <a:gd name="connsiteX23" fmla="*/ 34619 w 11187694"/>
              <a:gd name="connsiteY23" fmla="*/ 4651747 h 4691988"/>
              <a:gd name="connsiteX24" fmla="*/ 21620 w 11187694"/>
              <a:gd name="connsiteY24" fmla="*/ 3447643 h 4691988"/>
              <a:gd name="connsiteX25" fmla="*/ 21620 w 11187694"/>
              <a:gd name="connsiteY25" fmla="*/ 1631691 h 4691988"/>
              <a:gd name="connsiteX26" fmla="*/ 22037 w 11187694"/>
              <a:gd name="connsiteY26" fmla="*/ 1629626 h 4691988"/>
              <a:gd name="connsiteX27" fmla="*/ 22037 w 11187694"/>
              <a:gd name="connsiteY27" fmla="*/ 123847 h 4691988"/>
              <a:gd name="connsiteX28" fmla="*/ 145884 w 11187694"/>
              <a:gd name="connsiteY28" fmla="*/ 0 h 4691988"/>
              <a:gd name="connsiteX0" fmla="*/ 145884 w 11147453"/>
              <a:gd name="connsiteY0" fmla="*/ 0 h 4675892"/>
              <a:gd name="connsiteX1" fmla="*/ 6853331 w 11147453"/>
              <a:gd name="connsiteY1" fmla="*/ 0 h 4675892"/>
              <a:gd name="connsiteX2" fmla="*/ 6854177 w 11147453"/>
              <a:gd name="connsiteY2" fmla="*/ 0 h 4675892"/>
              <a:gd name="connsiteX3" fmla="*/ 8612076 w 11147453"/>
              <a:gd name="connsiteY3" fmla="*/ 0 h 4675892"/>
              <a:gd name="connsiteX4" fmla="*/ 8627424 w 11147453"/>
              <a:gd name="connsiteY4" fmla="*/ 0 h 4675892"/>
              <a:gd name="connsiteX5" fmla="*/ 8628271 w 11147453"/>
              <a:gd name="connsiteY5" fmla="*/ 0 h 4675892"/>
              <a:gd name="connsiteX6" fmla="*/ 10304995 w 11147453"/>
              <a:gd name="connsiteY6" fmla="*/ 0 h 4675892"/>
              <a:gd name="connsiteX7" fmla="*/ 10305082 w 11147453"/>
              <a:gd name="connsiteY7" fmla="*/ 18 h 4675892"/>
              <a:gd name="connsiteX8" fmla="*/ 10331977 w 11147453"/>
              <a:gd name="connsiteY8" fmla="*/ 12 h 4675892"/>
              <a:gd name="connsiteX9" fmla="*/ 10386169 w 11147453"/>
              <a:gd name="connsiteY9" fmla="*/ 0 h 4675892"/>
              <a:gd name="connsiteX10" fmla="*/ 10397489 w 11147453"/>
              <a:gd name="connsiteY10" fmla="*/ 1172 h 4675892"/>
              <a:gd name="connsiteX11" fmla="*/ 10414045 w 11147453"/>
              <a:gd name="connsiteY11" fmla="*/ 1172 h 4675892"/>
              <a:gd name="connsiteX12" fmla="*/ 10414044 w 11147453"/>
              <a:gd name="connsiteY12" fmla="*/ 2885 h 4675892"/>
              <a:gd name="connsiteX13" fmla="*/ 10445547 w 11147453"/>
              <a:gd name="connsiteY13" fmla="*/ 6147 h 4675892"/>
              <a:gd name="connsiteX14" fmla="*/ 10600675 w 11147453"/>
              <a:gd name="connsiteY14" fmla="*/ 89572 h 4675892"/>
              <a:gd name="connsiteX15" fmla="*/ 10995479 w 11147453"/>
              <a:gd name="connsiteY15" fmla="*/ 483608 h 4675892"/>
              <a:gd name="connsiteX16" fmla="*/ 11085225 w 11147453"/>
              <a:gd name="connsiteY16" fmla="*/ 697696 h 4675892"/>
              <a:gd name="connsiteX17" fmla="*/ 11085210 w 11147453"/>
              <a:gd name="connsiteY17" fmla="*/ 770767 h 4675892"/>
              <a:gd name="connsiteX18" fmla="*/ 11087603 w 11147453"/>
              <a:gd name="connsiteY18" fmla="*/ 770768 h 4675892"/>
              <a:gd name="connsiteX19" fmla="*/ 11087603 w 11147453"/>
              <a:gd name="connsiteY19" fmla="*/ 1629626 h 4675892"/>
              <a:gd name="connsiteX20" fmla="*/ 11088020 w 11147453"/>
              <a:gd name="connsiteY20" fmla="*/ 1631691 h 4675892"/>
              <a:gd name="connsiteX21" fmla="*/ 11088020 w 11147453"/>
              <a:gd name="connsiteY21" fmla="*/ 3447643 h 4675892"/>
              <a:gd name="connsiteX22" fmla="*/ 11147453 w 11147453"/>
              <a:gd name="connsiteY22" fmla="*/ 4675892 h 4675892"/>
              <a:gd name="connsiteX23" fmla="*/ 34619 w 11147453"/>
              <a:gd name="connsiteY23" fmla="*/ 4651747 h 4675892"/>
              <a:gd name="connsiteX24" fmla="*/ 21620 w 11147453"/>
              <a:gd name="connsiteY24" fmla="*/ 3447643 h 4675892"/>
              <a:gd name="connsiteX25" fmla="*/ 21620 w 11147453"/>
              <a:gd name="connsiteY25" fmla="*/ 1631691 h 4675892"/>
              <a:gd name="connsiteX26" fmla="*/ 22037 w 11147453"/>
              <a:gd name="connsiteY26" fmla="*/ 1629626 h 4675892"/>
              <a:gd name="connsiteX27" fmla="*/ 22037 w 11147453"/>
              <a:gd name="connsiteY27" fmla="*/ 123847 h 4675892"/>
              <a:gd name="connsiteX28" fmla="*/ 145884 w 11147453"/>
              <a:gd name="connsiteY28" fmla="*/ 0 h 4675892"/>
              <a:gd name="connsiteX0" fmla="*/ 145884 w 11107213"/>
              <a:gd name="connsiteY0" fmla="*/ 0 h 4691988"/>
              <a:gd name="connsiteX1" fmla="*/ 6853331 w 11107213"/>
              <a:gd name="connsiteY1" fmla="*/ 0 h 4691988"/>
              <a:gd name="connsiteX2" fmla="*/ 6854177 w 11107213"/>
              <a:gd name="connsiteY2" fmla="*/ 0 h 4691988"/>
              <a:gd name="connsiteX3" fmla="*/ 8612076 w 11107213"/>
              <a:gd name="connsiteY3" fmla="*/ 0 h 4691988"/>
              <a:gd name="connsiteX4" fmla="*/ 8627424 w 11107213"/>
              <a:gd name="connsiteY4" fmla="*/ 0 h 4691988"/>
              <a:gd name="connsiteX5" fmla="*/ 8628271 w 11107213"/>
              <a:gd name="connsiteY5" fmla="*/ 0 h 4691988"/>
              <a:gd name="connsiteX6" fmla="*/ 10304995 w 11107213"/>
              <a:gd name="connsiteY6" fmla="*/ 0 h 4691988"/>
              <a:gd name="connsiteX7" fmla="*/ 10305082 w 11107213"/>
              <a:gd name="connsiteY7" fmla="*/ 18 h 4691988"/>
              <a:gd name="connsiteX8" fmla="*/ 10331977 w 11107213"/>
              <a:gd name="connsiteY8" fmla="*/ 12 h 4691988"/>
              <a:gd name="connsiteX9" fmla="*/ 10386169 w 11107213"/>
              <a:gd name="connsiteY9" fmla="*/ 0 h 4691988"/>
              <a:gd name="connsiteX10" fmla="*/ 10397489 w 11107213"/>
              <a:gd name="connsiteY10" fmla="*/ 1172 h 4691988"/>
              <a:gd name="connsiteX11" fmla="*/ 10414045 w 11107213"/>
              <a:gd name="connsiteY11" fmla="*/ 1172 h 4691988"/>
              <a:gd name="connsiteX12" fmla="*/ 10414044 w 11107213"/>
              <a:gd name="connsiteY12" fmla="*/ 2885 h 4691988"/>
              <a:gd name="connsiteX13" fmla="*/ 10445547 w 11107213"/>
              <a:gd name="connsiteY13" fmla="*/ 6147 h 4691988"/>
              <a:gd name="connsiteX14" fmla="*/ 10600675 w 11107213"/>
              <a:gd name="connsiteY14" fmla="*/ 89572 h 4691988"/>
              <a:gd name="connsiteX15" fmla="*/ 10995479 w 11107213"/>
              <a:gd name="connsiteY15" fmla="*/ 483608 h 4691988"/>
              <a:gd name="connsiteX16" fmla="*/ 11085225 w 11107213"/>
              <a:gd name="connsiteY16" fmla="*/ 697696 h 4691988"/>
              <a:gd name="connsiteX17" fmla="*/ 11085210 w 11107213"/>
              <a:gd name="connsiteY17" fmla="*/ 770767 h 4691988"/>
              <a:gd name="connsiteX18" fmla="*/ 11087603 w 11107213"/>
              <a:gd name="connsiteY18" fmla="*/ 770768 h 4691988"/>
              <a:gd name="connsiteX19" fmla="*/ 11087603 w 11107213"/>
              <a:gd name="connsiteY19" fmla="*/ 1629626 h 4691988"/>
              <a:gd name="connsiteX20" fmla="*/ 11088020 w 11107213"/>
              <a:gd name="connsiteY20" fmla="*/ 1631691 h 4691988"/>
              <a:gd name="connsiteX21" fmla="*/ 11088020 w 11107213"/>
              <a:gd name="connsiteY21" fmla="*/ 3447643 h 4691988"/>
              <a:gd name="connsiteX22" fmla="*/ 11107213 w 11107213"/>
              <a:gd name="connsiteY22" fmla="*/ 4691988 h 4691988"/>
              <a:gd name="connsiteX23" fmla="*/ 34619 w 11107213"/>
              <a:gd name="connsiteY23" fmla="*/ 4651747 h 4691988"/>
              <a:gd name="connsiteX24" fmla="*/ 21620 w 11107213"/>
              <a:gd name="connsiteY24" fmla="*/ 3447643 h 4691988"/>
              <a:gd name="connsiteX25" fmla="*/ 21620 w 11107213"/>
              <a:gd name="connsiteY25" fmla="*/ 1631691 h 4691988"/>
              <a:gd name="connsiteX26" fmla="*/ 22037 w 11107213"/>
              <a:gd name="connsiteY26" fmla="*/ 1629626 h 4691988"/>
              <a:gd name="connsiteX27" fmla="*/ 22037 w 11107213"/>
              <a:gd name="connsiteY27" fmla="*/ 123847 h 4691988"/>
              <a:gd name="connsiteX28" fmla="*/ 145884 w 11107213"/>
              <a:gd name="connsiteY28" fmla="*/ 0 h 4691988"/>
              <a:gd name="connsiteX0" fmla="*/ 145884 w 11107213"/>
              <a:gd name="connsiteY0" fmla="*/ 0 h 4691988"/>
              <a:gd name="connsiteX1" fmla="*/ 6853331 w 11107213"/>
              <a:gd name="connsiteY1" fmla="*/ 0 h 4691988"/>
              <a:gd name="connsiteX2" fmla="*/ 6854177 w 11107213"/>
              <a:gd name="connsiteY2" fmla="*/ 0 h 4691988"/>
              <a:gd name="connsiteX3" fmla="*/ 8612076 w 11107213"/>
              <a:gd name="connsiteY3" fmla="*/ 0 h 4691988"/>
              <a:gd name="connsiteX4" fmla="*/ 8627424 w 11107213"/>
              <a:gd name="connsiteY4" fmla="*/ 0 h 4691988"/>
              <a:gd name="connsiteX5" fmla="*/ 8628271 w 11107213"/>
              <a:gd name="connsiteY5" fmla="*/ 0 h 4691988"/>
              <a:gd name="connsiteX6" fmla="*/ 10304995 w 11107213"/>
              <a:gd name="connsiteY6" fmla="*/ 0 h 4691988"/>
              <a:gd name="connsiteX7" fmla="*/ 10305082 w 11107213"/>
              <a:gd name="connsiteY7" fmla="*/ 18 h 4691988"/>
              <a:gd name="connsiteX8" fmla="*/ 10331977 w 11107213"/>
              <a:gd name="connsiteY8" fmla="*/ 12 h 4691988"/>
              <a:gd name="connsiteX9" fmla="*/ 10386169 w 11107213"/>
              <a:gd name="connsiteY9" fmla="*/ 0 h 4691988"/>
              <a:gd name="connsiteX10" fmla="*/ 10397489 w 11107213"/>
              <a:gd name="connsiteY10" fmla="*/ 1172 h 4691988"/>
              <a:gd name="connsiteX11" fmla="*/ 10414045 w 11107213"/>
              <a:gd name="connsiteY11" fmla="*/ 1172 h 4691988"/>
              <a:gd name="connsiteX12" fmla="*/ 10414044 w 11107213"/>
              <a:gd name="connsiteY12" fmla="*/ 2885 h 4691988"/>
              <a:gd name="connsiteX13" fmla="*/ 10445547 w 11107213"/>
              <a:gd name="connsiteY13" fmla="*/ 6147 h 4691988"/>
              <a:gd name="connsiteX14" fmla="*/ 10600675 w 11107213"/>
              <a:gd name="connsiteY14" fmla="*/ 89572 h 4691988"/>
              <a:gd name="connsiteX15" fmla="*/ 10995479 w 11107213"/>
              <a:gd name="connsiteY15" fmla="*/ 483608 h 4691988"/>
              <a:gd name="connsiteX16" fmla="*/ 11085225 w 11107213"/>
              <a:gd name="connsiteY16" fmla="*/ 697696 h 4691988"/>
              <a:gd name="connsiteX17" fmla="*/ 11085210 w 11107213"/>
              <a:gd name="connsiteY17" fmla="*/ 770767 h 4691988"/>
              <a:gd name="connsiteX18" fmla="*/ 11087603 w 11107213"/>
              <a:gd name="connsiteY18" fmla="*/ 770768 h 4691988"/>
              <a:gd name="connsiteX19" fmla="*/ 11087603 w 11107213"/>
              <a:gd name="connsiteY19" fmla="*/ 1629626 h 4691988"/>
              <a:gd name="connsiteX20" fmla="*/ 11088020 w 11107213"/>
              <a:gd name="connsiteY20" fmla="*/ 1631691 h 4691988"/>
              <a:gd name="connsiteX21" fmla="*/ 11107213 w 11107213"/>
              <a:gd name="connsiteY21" fmla="*/ 4691988 h 4691988"/>
              <a:gd name="connsiteX22" fmla="*/ 34619 w 11107213"/>
              <a:gd name="connsiteY22" fmla="*/ 4651747 h 4691988"/>
              <a:gd name="connsiteX23" fmla="*/ 21620 w 11107213"/>
              <a:gd name="connsiteY23" fmla="*/ 3447643 h 4691988"/>
              <a:gd name="connsiteX24" fmla="*/ 21620 w 11107213"/>
              <a:gd name="connsiteY24" fmla="*/ 1631691 h 4691988"/>
              <a:gd name="connsiteX25" fmla="*/ 22037 w 11107213"/>
              <a:gd name="connsiteY25" fmla="*/ 1629626 h 4691988"/>
              <a:gd name="connsiteX26" fmla="*/ 22037 w 11107213"/>
              <a:gd name="connsiteY26" fmla="*/ 123847 h 4691988"/>
              <a:gd name="connsiteX27" fmla="*/ 145884 w 11107213"/>
              <a:gd name="connsiteY27" fmla="*/ 0 h 4691988"/>
              <a:gd name="connsiteX0" fmla="*/ 145884 w 11107213"/>
              <a:gd name="connsiteY0" fmla="*/ 0 h 4691988"/>
              <a:gd name="connsiteX1" fmla="*/ 6853331 w 11107213"/>
              <a:gd name="connsiteY1" fmla="*/ 0 h 4691988"/>
              <a:gd name="connsiteX2" fmla="*/ 6854177 w 11107213"/>
              <a:gd name="connsiteY2" fmla="*/ 0 h 4691988"/>
              <a:gd name="connsiteX3" fmla="*/ 8612076 w 11107213"/>
              <a:gd name="connsiteY3" fmla="*/ 0 h 4691988"/>
              <a:gd name="connsiteX4" fmla="*/ 8627424 w 11107213"/>
              <a:gd name="connsiteY4" fmla="*/ 0 h 4691988"/>
              <a:gd name="connsiteX5" fmla="*/ 8628271 w 11107213"/>
              <a:gd name="connsiteY5" fmla="*/ 0 h 4691988"/>
              <a:gd name="connsiteX6" fmla="*/ 10304995 w 11107213"/>
              <a:gd name="connsiteY6" fmla="*/ 0 h 4691988"/>
              <a:gd name="connsiteX7" fmla="*/ 10305082 w 11107213"/>
              <a:gd name="connsiteY7" fmla="*/ 18 h 4691988"/>
              <a:gd name="connsiteX8" fmla="*/ 10331977 w 11107213"/>
              <a:gd name="connsiteY8" fmla="*/ 12 h 4691988"/>
              <a:gd name="connsiteX9" fmla="*/ 10386169 w 11107213"/>
              <a:gd name="connsiteY9" fmla="*/ 0 h 4691988"/>
              <a:gd name="connsiteX10" fmla="*/ 10397489 w 11107213"/>
              <a:gd name="connsiteY10" fmla="*/ 1172 h 4691988"/>
              <a:gd name="connsiteX11" fmla="*/ 10414045 w 11107213"/>
              <a:gd name="connsiteY11" fmla="*/ 1172 h 4691988"/>
              <a:gd name="connsiteX12" fmla="*/ 10414044 w 11107213"/>
              <a:gd name="connsiteY12" fmla="*/ 2885 h 4691988"/>
              <a:gd name="connsiteX13" fmla="*/ 10445547 w 11107213"/>
              <a:gd name="connsiteY13" fmla="*/ 6147 h 4691988"/>
              <a:gd name="connsiteX14" fmla="*/ 10600675 w 11107213"/>
              <a:gd name="connsiteY14" fmla="*/ 89572 h 4691988"/>
              <a:gd name="connsiteX15" fmla="*/ 10995479 w 11107213"/>
              <a:gd name="connsiteY15" fmla="*/ 483608 h 4691988"/>
              <a:gd name="connsiteX16" fmla="*/ 11085225 w 11107213"/>
              <a:gd name="connsiteY16" fmla="*/ 697696 h 4691988"/>
              <a:gd name="connsiteX17" fmla="*/ 11085210 w 11107213"/>
              <a:gd name="connsiteY17" fmla="*/ 770767 h 4691988"/>
              <a:gd name="connsiteX18" fmla="*/ 11087603 w 11107213"/>
              <a:gd name="connsiteY18" fmla="*/ 770768 h 4691988"/>
              <a:gd name="connsiteX19" fmla="*/ 11087603 w 11107213"/>
              <a:gd name="connsiteY19" fmla="*/ 1629626 h 4691988"/>
              <a:gd name="connsiteX20" fmla="*/ 11107213 w 11107213"/>
              <a:gd name="connsiteY20" fmla="*/ 4691988 h 4691988"/>
              <a:gd name="connsiteX21" fmla="*/ 34619 w 11107213"/>
              <a:gd name="connsiteY21" fmla="*/ 4651747 h 4691988"/>
              <a:gd name="connsiteX22" fmla="*/ 21620 w 11107213"/>
              <a:gd name="connsiteY22" fmla="*/ 3447643 h 4691988"/>
              <a:gd name="connsiteX23" fmla="*/ 21620 w 11107213"/>
              <a:gd name="connsiteY23" fmla="*/ 1631691 h 4691988"/>
              <a:gd name="connsiteX24" fmla="*/ 22037 w 11107213"/>
              <a:gd name="connsiteY24" fmla="*/ 1629626 h 4691988"/>
              <a:gd name="connsiteX25" fmla="*/ 22037 w 11107213"/>
              <a:gd name="connsiteY25" fmla="*/ 123847 h 4691988"/>
              <a:gd name="connsiteX26" fmla="*/ 145884 w 11107213"/>
              <a:gd name="connsiteY26" fmla="*/ 0 h 4691988"/>
              <a:gd name="connsiteX0" fmla="*/ 145884 w 11107213"/>
              <a:gd name="connsiteY0" fmla="*/ 0 h 4691988"/>
              <a:gd name="connsiteX1" fmla="*/ 6853331 w 11107213"/>
              <a:gd name="connsiteY1" fmla="*/ 0 h 4691988"/>
              <a:gd name="connsiteX2" fmla="*/ 6854177 w 11107213"/>
              <a:gd name="connsiteY2" fmla="*/ 0 h 4691988"/>
              <a:gd name="connsiteX3" fmla="*/ 8612076 w 11107213"/>
              <a:gd name="connsiteY3" fmla="*/ 0 h 4691988"/>
              <a:gd name="connsiteX4" fmla="*/ 8627424 w 11107213"/>
              <a:gd name="connsiteY4" fmla="*/ 0 h 4691988"/>
              <a:gd name="connsiteX5" fmla="*/ 8628271 w 11107213"/>
              <a:gd name="connsiteY5" fmla="*/ 0 h 4691988"/>
              <a:gd name="connsiteX6" fmla="*/ 10304995 w 11107213"/>
              <a:gd name="connsiteY6" fmla="*/ 0 h 4691988"/>
              <a:gd name="connsiteX7" fmla="*/ 10305082 w 11107213"/>
              <a:gd name="connsiteY7" fmla="*/ 18 h 4691988"/>
              <a:gd name="connsiteX8" fmla="*/ 10331977 w 11107213"/>
              <a:gd name="connsiteY8" fmla="*/ 12 h 4691988"/>
              <a:gd name="connsiteX9" fmla="*/ 10386169 w 11107213"/>
              <a:gd name="connsiteY9" fmla="*/ 0 h 4691988"/>
              <a:gd name="connsiteX10" fmla="*/ 10397489 w 11107213"/>
              <a:gd name="connsiteY10" fmla="*/ 1172 h 4691988"/>
              <a:gd name="connsiteX11" fmla="*/ 10414045 w 11107213"/>
              <a:gd name="connsiteY11" fmla="*/ 1172 h 4691988"/>
              <a:gd name="connsiteX12" fmla="*/ 10414044 w 11107213"/>
              <a:gd name="connsiteY12" fmla="*/ 2885 h 4691988"/>
              <a:gd name="connsiteX13" fmla="*/ 10445547 w 11107213"/>
              <a:gd name="connsiteY13" fmla="*/ 6147 h 4691988"/>
              <a:gd name="connsiteX14" fmla="*/ 10600675 w 11107213"/>
              <a:gd name="connsiteY14" fmla="*/ 89572 h 4691988"/>
              <a:gd name="connsiteX15" fmla="*/ 10995479 w 11107213"/>
              <a:gd name="connsiteY15" fmla="*/ 483608 h 4691988"/>
              <a:gd name="connsiteX16" fmla="*/ 11085225 w 11107213"/>
              <a:gd name="connsiteY16" fmla="*/ 697696 h 4691988"/>
              <a:gd name="connsiteX17" fmla="*/ 11085210 w 11107213"/>
              <a:gd name="connsiteY17" fmla="*/ 770767 h 4691988"/>
              <a:gd name="connsiteX18" fmla="*/ 11087603 w 11107213"/>
              <a:gd name="connsiteY18" fmla="*/ 770768 h 4691988"/>
              <a:gd name="connsiteX19" fmla="*/ 11107213 w 11107213"/>
              <a:gd name="connsiteY19" fmla="*/ 4691988 h 4691988"/>
              <a:gd name="connsiteX20" fmla="*/ 34619 w 11107213"/>
              <a:gd name="connsiteY20" fmla="*/ 4651747 h 4691988"/>
              <a:gd name="connsiteX21" fmla="*/ 21620 w 11107213"/>
              <a:gd name="connsiteY21" fmla="*/ 3447643 h 4691988"/>
              <a:gd name="connsiteX22" fmla="*/ 21620 w 11107213"/>
              <a:gd name="connsiteY22" fmla="*/ 1631691 h 4691988"/>
              <a:gd name="connsiteX23" fmla="*/ 22037 w 11107213"/>
              <a:gd name="connsiteY23" fmla="*/ 1629626 h 4691988"/>
              <a:gd name="connsiteX24" fmla="*/ 22037 w 11107213"/>
              <a:gd name="connsiteY24" fmla="*/ 123847 h 4691988"/>
              <a:gd name="connsiteX25" fmla="*/ 145884 w 11107213"/>
              <a:gd name="connsiteY25" fmla="*/ 0 h 4691988"/>
              <a:gd name="connsiteX0" fmla="*/ 935335 w 11896664"/>
              <a:gd name="connsiteY0" fmla="*/ 0 h 4691988"/>
              <a:gd name="connsiteX1" fmla="*/ 7642782 w 11896664"/>
              <a:gd name="connsiteY1" fmla="*/ 0 h 4691988"/>
              <a:gd name="connsiteX2" fmla="*/ 7643628 w 11896664"/>
              <a:gd name="connsiteY2" fmla="*/ 0 h 4691988"/>
              <a:gd name="connsiteX3" fmla="*/ 9401527 w 11896664"/>
              <a:gd name="connsiteY3" fmla="*/ 0 h 4691988"/>
              <a:gd name="connsiteX4" fmla="*/ 9416875 w 11896664"/>
              <a:gd name="connsiteY4" fmla="*/ 0 h 4691988"/>
              <a:gd name="connsiteX5" fmla="*/ 9417722 w 11896664"/>
              <a:gd name="connsiteY5" fmla="*/ 0 h 4691988"/>
              <a:gd name="connsiteX6" fmla="*/ 11094446 w 11896664"/>
              <a:gd name="connsiteY6" fmla="*/ 0 h 4691988"/>
              <a:gd name="connsiteX7" fmla="*/ 11094533 w 11896664"/>
              <a:gd name="connsiteY7" fmla="*/ 18 h 4691988"/>
              <a:gd name="connsiteX8" fmla="*/ 11121428 w 11896664"/>
              <a:gd name="connsiteY8" fmla="*/ 12 h 4691988"/>
              <a:gd name="connsiteX9" fmla="*/ 11175620 w 11896664"/>
              <a:gd name="connsiteY9" fmla="*/ 0 h 4691988"/>
              <a:gd name="connsiteX10" fmla="*/ 11186940 w 11896664"/>
              <a:gd name="connsiteY10" fmla="*/ 1172 h 4691988"/>
              <a:gd name="connsiteX11" fmla="*/ 11203496 w 11896664"/>
              <a:gd name="connsiteY11" fmla="*/ 1172 h 4691988"/>
              <a:gd name="connsiteX12" fmla="*/ 11203495 w 11896664"/>
              <a:gd name="connsiteY12" fmla="*/ 2885 h 4691988"/>
              <a:gd name="connsiteX13" fmla="*/ 11234998 w 11896664"/>
              <a:gd name="connsiteY13" fmla="*/ 6147 h 4691988"/>
              <a:gd name="connsiteX14" fmla="*/ 11390126 w 11896664"/>
              <a:gd name="connsiteY14" fmla="*/ 89572 h 4691988"/>
              <a:gd name="connsiteX15" fmla="*/ 11784930 w 11896664"/>
              <a:gd name="connsiteY15" fmla="*/ 483608 h 4691988"/>
              <a:gd name="connsiteX16" fmla="*/ 11874676 w 11896664"/>
              <a:gd name="connsiteY16" fmla="*/ 697696 h 4691988"/>
              <a:gd name="connsiteX17" fmla="*/ 11874661 w 11896664"/>
              <a:gd name="connsiteY17" fmla="*/ 770767 h 4691988"/>
              <a:gd name="connsiteX18" fmla="*/ 11877054 w 11896664"/>
              <a:gd name="connsiteY18" fmla="*/ 770768 h 4691988"/>
              <a:gd name="connsiteX19" fmla="*/ 11896664 w 11896664"/>
              <a:gd name="connsiteY19" fmla="*/ 4691988 h 4691988"/>
              <a:gd name="connsiteX20" fmla="*/ 824070 w 11896664"/>
              <a:gd name="connsiteY20" fmla="*/ 4651747 h 4691988"/>
              <a:gd name="connsiteX21" fmla="*/ 811071 w 11896664"/>
              <a:gd name="connsiteY21" fmla="*/ 1631691 h 4691988"/>
              <a:gd name="connsiteX22" fmla="*/ 811488 w 11896664"/>
              <a:gd name="connsiteY22" fmla="*/ 1629626 h 4691988"/>
              <a:gd name="connsiteX23" fmla="*/ 811488 w 11896664"/>
              <a:gd name="connsiteY23" fmla="*/ 123847 h 4691988"/>
              <a:gd name="connsiteX24" fmla="*/ 935335 w 11896664"/>
              <a:gd name="connsiteY24" fmla="*/ 0 h 4691988"/>
              <a:gd name="connsiteX0" fmla="*/ 935335 w 11896664"/>
              <a:gd name="connsiteY0" fmla="*/ 0 h 4691988"/>
              <a:gd name="connsiteX1" fmla="*/ 7642782 w 11896664"/>
              <a:gd name="connsiteY1" fmla="*/ 0 h 4691988"/>
              <a:gd name="connsiteX2" fmla="*/ 7643628 w 11896664"/>
              <a:gd name="connsiteY2" fmla="*/ 0 h 4691988"/>
              <a:gd name="connsiteX3" fmla="*/ 9401527 w 11896664"/>
              <a:gd name="connsiteY3" fmla="*/ 0 h 4691988"/>
              <a:gd name="connsiteX4" fmla="*/ 9416875 w 11896664"/>
              <a:gd name="connsiteY4" fmla="*/ 0 h 4691988"/>
              <a:gd name="connsiteX5" fmla="*/ 9417722 w 11896664"/>
              <a:gd name="connsiteY5" fmla="*/ 0 h 4691988"/>
              <a:gd name="connsiteX6" fmla="*/ 11094446 w 11896664"/>
              <a:gd name="connsiteY6" fmla="*/ 0 h 4691988"/>
              <a:gd name="connsiteX7" fmla="*/ 11094533 w 11896664"/>
              <a:gd name="connsiteY7" fmla="*/ 18 h 4691988"/>
              <a:gd name="connsiteX8" fmla="*/ 11121428 w 11896664"/>
              <a:gd name="connsiteY8" fmla="*/ 12 h 4691988"/>
              <a:gd name="connsiteX9" fmla="*/ 11175620 w 11896664"/>
              <a:gd name="connsiteY9" fmla="*/ 0 h 4691988"/>
              <a:gd name="connsiteX10" fmla="*/ 11186940 w 11896664"/>
              <a:gd name="connsiteY10" fmla="*/ 1172 h 4691988"/>
              <a:gd name="connsiteX11" fmla="*/ 11203496 w 11896664"/>
              <a:gd name="connsiteY11" fmla="*/ 1172 h 4691988"/>
              <a:gd name="connsiteX12" fmla="*/ 11203495 w 11896664"/>
              <a:gd name="connsiteY12" fmla="*/ 2885 h 4691988"/>
              <a:gd name="connsiteX13" fmla="*/ 11234998 w 11896664"/>
              <a:gd name="connsiteY13" fmla="*/ 6147 h 4691988"/>
              <a:gd name="connsiteX14" fmla="*/ 11390126 w 11896664"/>
              <a:gd name="connsiteY14" fmla="*/ 89572 h 4691988"/>
              <a:gd name="connsiteX15" fmla="*/ 11784930 w 11896664"/>
              <a:gd name="connsiteY15" fmla="*/ 483608 h 4691988"/>
              <a:gd name="connsiteX16" fmla="*/ 11874676 w 11896664"/>
              <a:gd name="connsiteY16" fmla="*/ 697696 h 4691988"/>
              <a:gd name="connsiteX17" fmla="*/ 11874661 w 11896664"/>
              <a:gd name="connsiteY17" fmla="*/ 770767 h 4691988"/>
              <a:gd name="connsiteX18" fmla="*/ 11877054 w 11896664"/>
              <a:gd name="connsiteY18" fmla="*/ 770768 h 4691988"/>
              <a:gd name="connsiteX19" fmla="*/ 11896664 w 11896664"/>
              <a:gd name="connsiteY19" fmla="*/ 4691988 h 4691988"/>
              <a:gd name="connsiteX20" fmla="*/ 824070 w 11896664"/>
              <a:gd name="connsiteY20" fmla="*/ 4651747 h 4691988"/>
              <a:gd name="connsiteX21" fmla="*/ 811071 w 11896664"/>
              <a:gd name="connsiteY21" fmla="*/ 1631691 h 4691988"/>
              <a:gd name="connsiteX22" fmla="*/ 811488 w 11896664"/>
              <a:gd name="connsiteY22" fmla="*/ 123847 h 4691988"/>
              <a:gd name="connsiteX23" fmla="*/ 935335 w 11896664"/>
              <a:gd name="connsiteY23" fmla="*/ 0 h 4691988"/>
              <a:gd name="connsiteX0" fmla="*/ 939828 w 11901157"/>
              <a:gd name="connsiteY0" fmla="*/ 0 h 4691988"/>
              <a:gd name="connsiteX1" fmla="*/ 7647275 w 11901157"/>
              <a:gd name="connsiteY1" fmla="*/ 0 h 4691988"/>
              <a:gd name="connsiteX2" fmla="*/ 7648121 w 11901157"/>
              <a:gd name="connsiteY2" fmla="*/ 0 h 4691988"/>
              <a:gd name="connsiteX3" fmla="*/ 9406020 w 11901157"/>
              <a:gd name="connsiteY3" fmla="*/ 0 h 4691988"/>
              <a:gd name="connsiteX4" fmla="*/ 9421368 w 11901157"/>
              <a:gd name="connsiteY4" fmla="*/ 0 h 4691988"/>
              <a:gd name="connsiteX5" fmla="*/ 9422215 w 11901157"/>
              <a:gd name="connsiteY5" fmla="*/ 0 h 4691988"/>
              <a:gd name="connsiteX6" fmla="*/ 11098939 w 11901157"/>
              <a:gd name="connsiteY6" fmla="*/ 0 h 4691988"/>
              <a:gd name="connsiteX7" fmla="*/ 11099026 w 11901157"/>
              <a:gd name="connsiteY7" fmla="*/ 18 h 4691988"/>
              <a:gd name="connsiteX8" fmla="*/ 11125921 w 11901157"/>
              <a:gd name="connsiteY8" fmla="*/ 12 h 4691988"/>
              <a:gd name="connsiteX9" fmla="*/ 11180113 w 11901157"/>
              <a:gd name="connsiteY9" fmla="*/ 0 h 4691988"/>
              <a:gd name="connsiteX10" fmla="*/ 11191433 w 11901157"/>
              <a:gd name="connsiteY10" fmla="*/ 1172 h 4691988"/>
              <a:gd name="connsiteX11" fmla="*/ 11207989 w 11901157"/>
              <a:gd name="connsiteY11" fmla="*/ 1172 h 4691988"/>
              <a:gd name="connsiteX12" fmla="*/ 11207988 w 11901157"/>
              <a:gd name="connsiteY12" fmla="*/ 2885 h 4691988"/>
              <a:gd name="connsiteX13" fmla="*/ 11239491 w 11901157"/>
              <a:gd name="connsiteY13" fmla="*/ 6147 h 4691988"/>
              <a:gd name="connsiteX14" fmla="*/ 11394619 w 11901157"/>
              <a:gd name="connsiteY14" fmla="*/ 89572 h 4691988"/>
              <a:gd name="connsiteX15" fmla="*/ 11789423 w 11901157"/>
              <a:gd name="connsiteY15" fmla="*/ 483608 h 4691988"/>
              <a:gd name="connsiteX16" fmla="*/ 11879169 w 11901157"/>
              <a:gd name="connsiteY16" fmla="*/ 697696 h 4691988"/>
              <a:gd name="connsiteX17" fmla="*/ 11879154 w 11901157"/>
              <a:gd name="connsiteY17" fmla="*/ 770767 h 4691988"/>
              <a:gd name="connsiteX18" fmla="*/ 11881547 w 11901157"/>
              <a:gd name="connsiteY18" fmla="*/ 770768 h 4691988"/>
              <a:gd name="connsiteX19" fmla="*/ 11901157 w 11901157"/>
              <a:gd name="connsiteY19" fmla="*/ 4691988 h 4691988"/>
              <a:gd name="connsiteX20" fmla="*/ 828563 w 11901157"/>
              <a:gd name="connsiteY20" fmla="*/ 4651747 h 4691988"/>
              <a:gd name="connsiteX21" fmla="*/ 815981 w 11901157"/>
              <a:gd name="connsiteY21" fmla="*/ 123847 h 4691988"/>
              <a:gd name="connsiteX22" fmla="*/ 939828 w 11901157"/>
              <a:gd name="connsiteY22" fmla="*/ 0 h 4691988"/>
              <a:gd name="connsiteX0" fmla="*/ 127167 w 11088496"/>
              <a:gd name="connsiteY0" fmla="*/ 0 h 4691988"/>
              <a:gd name="connsiteX1" fmla="*/ 6834614 w 11088496"/>
              <a:gd name="connsiteY1" fmla="*/ 0 h 4691988"/>
              <a:gd name="connsiteX2" fmla="*/ 6835460 w 11088496"/>
              <a:gd name="connsiteY2" fmla="*/ 0 h 4691988"/>
              <a:gd name="connsiteX3" fmla="*/ 8593359 w 11088496"/>
              <a:gd name="connsiteY3" fmla="*/ 0 h 4691988"/>
              <a:gd name="connsiteX4" fmla="*/ 8608707 w 11088496"/>
              <a:gd name="connsiteY4" fmla="*/ 0 h 4691988"/>
              <a:gd name="connsiteX5" fmla="*/ 8609554 w 11088496"/>
              <a:gd name="connsiteY5" fmla="*/ 0 h 4691988"/>
              <a:gd name="connsiteX6" fmla="*/ 10286278 w 11088496"/>
              <a:gd name="connsiteY6" fmla="*/ 0 h 4691988"/>
              <a:gd name="connsiteX7" fmla="*/ 10286365 w 11088496"/>
              <a:gd name="connsiteY7" fmla="*/ 18 h 4691988"/>
              <a:gd name="connsiteX8" fmla="*/ 10313260 w 11088496"/>
              <a:gd name="connsiteY8" fmla="*/ 12 h 4691988"/>
              <a:gd name="connsiteX9" fmla="*/ 10367452 w 11088496"/>
              <a:gd name="connsiteY9" fmla="*/ 0 h 4691988"/>
              <a:gd name="connsiteX10" fmla="*/ 10378772 w 11088496"/>
              <a:gd name="connsiteY10" fmla="*/ 1172 h 4691988"/>
              <a:gd name="connsiteX11" fmla="*/ 10395328 w 11088496"/>
              <a:gd name="connsiteY11" fmla="*/ 1172 h 4691988"/>
              <a:gd name="connsiteX12" fmla="*/ 10395327 w 11088496"/>
              <a:gd name="connsiteY12" fmla="*/ 2885 h 4691988"/>
              <a:gd name="connsiteX13" fmla="*/ 10426830 w 11088496"/>
              <a:gd name="connsiteY13" fmla="*/ 6147 h 4691988"/>
              <a:gd name="connsiteX14" fmla="*/ 10581958 w 11088496"/>
              <a:gd name="connsiteY14" fmla="*/ 89572 h 4691988"/>
              <a:gd name="connsiteX15" fmla="*/ 10976762 w 11088496"/>
              <a:gd name="connsiteY15" fmla="*/ 483608 h 4691988"/>
              <a:gd name="connsiteX16" fmla="*/ 11066508 w 11088496"/>
              <a:gd name="connsiteY16" fmla="*/ 697696 h 4691988"/>
              <a:gd name="connsiteX17" fmla="*/ 11066493 w 11088496"/>
              <a:gd name="connsiteY17" fmla="*/ 770767 h 4691988"/>
              <a:gd name="connsiteX18" fmla="*/ 11068886 w 11088496"/>
              <a:gd name="connsiteY18" fmla="*/ 770768 h 4691988"/>
              <a:gd name="connsiteX19" fmla="*/ 11088496 w 11088496"/>
              <a:gd name="connsiteY19" fmla="*/ 4691988 h 4691988"/>
              <a:gd name="connsiteX20" fmla="*/ 15902 w 11088496"/>
              <a:gd name="connsiteY20" fmla="*/ 4651747 h 4691988"/>
              <a:gd name="connsiteX21" fmla="*/ 3320 w 11088496"/>
              <a:gd name="connsiteY21" fmla="*/ 123847 h 4691988"/>
              <a:gd name="connsiteX22" fmla="*/ 127167 w 11088496"/>
              <a:gd name="connsiteY22" fmla="*/ 0 h 4691988"/>
              <a:gd name="connsiteX0" fmla="*/ 124518 w 11085847"/>
              <a:gd name="connsiteY0" fmla="*/ 0 h 4691988"/>
              <a:gd name="connsiteX1" fmla="*/ 6831965 w 11085847"/>
              <a:gd name="connsiteY1" fmla="*/ 0 h 4691988"/>
              <a:gd name="connsiteX2" fmla="*/ 6832811 w 11085847"/>
              <a:gd name="connsiteY2" fmla="*/ 0 h 4691988"/>
              <a:gd name="connsiteX3" fmla="*/ 8590710 w 11085847"/>
              <a:gd name="connsiteY3" fmla="*/ 0 h 4691988"/>
              <a:gd name="connsiteX4" fmla="*/ 8606058 w 11085847"/>
              <a:gd name="connsiteY4" fmla="*/ 0 h 4691988"/>
              <a:gd name="connsiteX5" fmla="*/ 8606905 w 11085847"/>
              <a:gd name="connsiteY5" fmla="*/ 0 h 4691988"/>
              <a:gd name="connsiteX6" fmla="*/ 10283629 w 11085847"/>
              <a:gd name="connsiteY6" fmla="*/ 0 h 4691988"/>
              <a:gd name="connsiteX7" fmla="*/ 10283716 w 11085847"/>
              <a:gd name="connsiteY7" fmla="*/ 18 h 4691988"/>
              <a:gd name="connsiteX8" fmla="*/ 10310611 w 11085847"/>
              <a:gd name="connsiteY8" fmla="*/ 12 h 4691988"/>
              <a:gd name="connsiteX9" fmla="*/ 10364803 w 11085847"/>
              <a:gd name="connsiteY9" fmla="*/ 0 h 4691988"/>
              <a:gd name="connsiteX10" fmla="*/ 10376123 w 11085847"/>
              <a:gd name="connsiteY10" fmla="*/ 1172 h 4691988"/>
              <a:gd name="connsiteX11" fmla="*/ 10392679 w 11085847"/>
              <a:gd name="connsiteY11" fmla="*/ 1172 h 4691988"/>
              <a:gd name="connsiteX12" fmla="*/ 10392678 w 11085847"/>
              <a:gd name="connsiteY12" fmla="*/ 2885 h 4691988"/>
              <a:gd name="connsiteX13" fmla="*/ 10424181 w 11085847"/>
              <a:gd name="connsiteY13" fmla="*/ 6147 h 4691988"/>
              <a:gd name="connsiteX14" fmla="*/ 10579309 w 11085847"/>
              <a:gd name="connsiteY14" fmla="*/ 89572 h 4691988"/>
              <a:gd name="connsiteX15" fmla="*/ 10974113 w 11085847"/>
              <a:gd name="connsiteY15" fmla="*/ 483608 h 4691988"/>
              <a:gd name="connsiteX16" fmla="*/ 11063859 w 11085847"/>
              <a:gd name="connsiteY16" fmla="*/ 697696 h 4691988"/>
              <a:gd name="connsiteX17" fmla="*/ 11063844 w 11085847"/>
              <a:gd name="connsiteY17" fmla="*/ 770767 h 4691988"/>
              <a:gd name="connsiteX18" fmla="*/ 11066237 w 11085847"/>
              <a:gd name="connsiteY18" fmla="*/ 770768 h 4691988"/>
              <a:gd name="connsiteX19" fmla="*/ 11085847 w 11085847"/>
              <a:gd name="connsiteY19" fmla="*/ 4691988 h 4691988"/>
              <a:gd name="connsiteX20" fmla="*/ 319077 w 11085847"/>
              <a:gd name="connsiteY20" fmla="*/ 4418355 h 4691988"/>
              <a:gd name="connsiteX21" fmla="*/ 671 w 11085847"/>
              <a:gd name="connsiteY21" fmla="*/ 123847 h 4691988"/>
              <a:gd name="connsiteX22" fmla="*/ 124518 w 11085847"/>
              <a:gd name="connsiteY22" fmla="*/ 0 h 4691988"/>
              <a:gd name="connsiteX0" fmla="*/ 124576 w 11085905"/>
              <a:gd name="connsiteY0" fmla="*/ 0 h 4691988"/>
              <a:gd name="connsiteX1" fmla="*/ 6832023 w 11085905"/>
              <a:gd name="connsiteY1" fmla="*/ 0 h 4691988"/>
              <a:gd name="connsiteX2" fmla="*/ 6832869 w 11085905"/>
              <a:gd name="connsiteY2" fmla="*/ 0 h 4691988"/>
              <a:gd name="connsiteX3" fmla="*/ 8590768 w 11085905"/>
              <a:gd name="connsiteY3" fmla="*/ 0 h 4691988"/>
              <a:gd name="connsiteX4" fmla="*/ 8606116 w 11085905"/>
              <a:gd name="connsiteY4" fmla="*/ 0 h 4691988"/>
              <a:gd name="connsiteX5" fmla="*/ 8606963 w 11085905"/>
              <a:gd name="connsiteY5" fmla="*/ 0 h 4691988"/>
              <a:gd name="connsiteX6" fmla="*/ 10283687 w 11085905"/>
              <a:gd name="connsiteY6" fmla="*/ 0 h 4691988"/>
              <a:gd name="connsiteX7" fmla="*/ 10283774 w 11085905"/>
              <a:gd name="connsiteY7" fmla="*/ 18 h 4691988"/>
              <a:gd name="connsiteX8" fmla="*/ 10310669 w 11085905"/>
              <a:gd name="connsiteY8" fmla="*/ 12 h 4691988"/>
              <a:gd name="connsiteX9" fmla="*/ 10364861 w 11085905"/>
              <a:gd name="connsiteY9" fmla="*/ 0 h 4691988"/>
              <a:gd name="connsiteX10" fmla="*/ 10376181 w 11085905"/>
              <a:gd name="connsiteY10" fmla="*/ 1172 h 4691988"/>
              <a:gd name="connsiteX11" fmla="*/ 10392737 w 11085905"/>
              <a:gd name="connsiteY11" fmla="*/ 1172 h 4691988"/>
              <a:gd name="connsiteX12" fmla="*/ 10392736 w 11085905"/>
              <a:gd name="connsiteY12" fmla="*/ 2885 h 4691988"/>
              <a:gd name="connsiteX13" fmla="*/ 10424239 w 11085905"/>
              <a:gd name="connsiteY13" fmla="*/ 6147 h 4691988"/>
              <a:gd name="connsiteX14" fmla="*/ 10579367 w 11085905"/>
              <a:gd name="connsiteY14" fmla="*/ 89572 h 4691988"/>
              <a:gd name="connsiteX15" fmla="*/ 10974171 w 11085905"/>
              <a:gd name="connsiteY15" fmla="*/ 483608 h 4691988"/>
              <a:gd name="connsiteX16" fmla="*/ 11063917 w 11085905"/>
              <a:gd name="connsiteY16" fmla="*/ 697696 h 4691988"/>
              <a:gd name="connsiteX17" fmla="*/ 11063902 w 11085905"/>
              <a:gd name="connsiteY17" fmla="*/ 770767 h 4691988"/>
              <a:gd name="connsiteX18" fmla="*/ 11066295 w 11085905"/>
              <a:gd name="connsiteY18" fmla="*/ 770768 h 4691988"/>
              <a:gd name="connsiteX19" fmla="*/ 11085905 w 11085905"/>
              <a:gd name="connsiteY19" fmla="*/ 4691988 h 4691988"/>
              <a:gd name="connsiteX20" fmla="*/ 319135 w 11085905"/>
              <a:gd name="connsiteY20" fmla="*/ 4418355 h 4691988"/>
              <a:gd name="connsiteX21" fmla="*/ 729 w 11085905"/>
              <a:gd name="connsiteY21" fmla="*/ 123847 h 4691988"/>
              <a:gd name="connsiteX22" fmla="*/ 124576 w 11085905"/>
              <a:gd name="connsiteY22" fmla="*/ 0 h 4691988"/>
              <a:gd name="connsiteX0" fmla="*/ 135410 w 11096739"/>
              <a:gd name="connsiteY0" fmla="*/ 0 h 4691988"/>
              <a:gd name="connsiteX1" fmla="*/ 6842857 w 11096739"/>
              <a:gd name="connsiteY1" fmla="*/ 0 h 4691988"/>
              <a:gd name="connsiteX2" fmla="*/ 6843703 w 11096739"/>
              <a:gd name="connsiteY2" fmla="*/ 0 h 4691988"/>
              <a:gd name="connsiteX3" fmla="*/ 8601602 w 11096739"/>
              <a:gd name="connsiteY3" fmla="*/ 0 h 4691988"/>
              <a:gd name="connsiteX4" fmla="*/ 8616950 w 11096739"/>
              <a:gd name="connsiteY4" fmla="*/ 0 h 4691988"/>
              <a:gd name="connsiteX5" fmla="*/ 8617797 w 11096739"/>
              <a:gd name="connsiteY5" fmla="*/ 0 h 4691988"/>
              <a:gd name="connsiteX6" fmla="*/ 10294521 w 11096739"/>
              <a:gd name="connsiteY6" fmla="*/ 0 h 4691988"/>
              <a:gd name="connsiteX7" fmla="*/ 10294608 w 11096739"/>
              <a:gd name="connsiteY7" fmla="*/ 18 h 4691988"/>
              <a:gd name="connsiteX8" fmla="*/ 10321503 w 11096739"/>
              <a:gd name="connsiteY8" fmla="*/ 12 h 4691988"/>
              <a:gd name="connsiteX9" fmla="*/ 10375695 w 11096739"/>
              <a:gd name="connsiteY9" fmla="*/ 0 h 4691988"/>
              <a:gd name="connsiteX10" fmla="*/ 10387015 w 11096739"/>
              <a:gd name="connsiteY10" fmla="*/ 1172 h 4691988"/>
              <a:gd name="connsiteX11" fmla="*/ 10403571 w 11096739"/>
              <a:gd name="connsiteY11" fmla="*/ 1172 h 4691988"/>
              <a:gd name="connsiteX12" fmla="*/ 10403570 w 11096739"/>
              <a:gd name="connsiteY12" fmla="*/ 2885 h 4691988"/>
              <a:gd name="connsiteX13" fmla="*/ 10435073 w 11096739"/>
              <a:gd name="connsiteY13" fmla="*/ 6147 h 4691988"/>
              <a:gd name="connsiteX14" fmla="*/ 10590201 w 11096739"/>
              <a:gd name="connsiteY14" fmla="*/ 89572 h 4691988"/>
              <a:gd name="connsiteX15" fmla="*/ 10985005 w 11096739"/>
              <a:gd name="connsiteY15" fmla="*/ 483608 h 4691988"/>
              <a:gd name="connsiteX16" fmla="*/ 11074751 w 11096739"/>
              <a:gd name="connsiteY16" fmla="*/ 697696 h 4691988"/>
              <a:gd name="connsiteX17" fmla="*/ 11074736 w 11096739"/>
              <a:gd name="connsiteY17" fmla="*/ 770767 h 4691988"/>
              <a:gd name="connsiteX18" fmla="*/ 11077129 w 11096739"/>
              <a:gd name="connsiteY18" fmla="*/ 770768 h 4691988"/>
              <a:gd name="connsiteX19" fmla="*/ 11096739 w 11096739"/>
              <a:gd name="connsiteY19" fmla="*/ 4691988 h 4691988"/>
              <a:gd name="connsiteX20" fmla="*/ 0 w 11096739"/>
              <a:gd name="connsiteY20" fmla="*/ 4675892 h 4691988"/>
              <a:gd name="connsiteX21" fmla="*/ 11563 w 11096739"/>
              <a:gd name="connsiteY21" fmla="*/ 123847 h 4691988"/>
              <a:gd name="connsiteX22" fmla="*/ 135410 w 11096739"/>
              <a:gd name="connsiteY22" fmla="*/ 0 h 4691988"/>
              <a:gd name="connsiteX0" fmla="*/ 135410 w 11096739"/>
              <a:gd name="connsiteY0" fmla="*/ 0 h 4691988"/>
              <a:gd name="connsiteX1" fmla="*/ 6842857 w 11096739"/>
              <a:gd name="connsiteY1" fmla="*/ 0 h 4691988"/>
              <a:gd name="connsiteX2" fmla="*/ 6843703 w 11096739"/>
              <a:gd name="connsiteY2" fmla="*/ 0 h 4691988"/>
              <a:gd name="connsiteX3" fmla="*/ 8601602 w 11096739"/>
              <a:gd name="connsiteY3" fmla="*/ 0 h 4691988"/>
              <a:gd name="connsiteX4" fmla="*/ 8616950 w 11096739"/>
              <a:gd name="connsiteY4" fmla="*/ 0 h 4691988"/>
              <a:gd name="connsiteX5" fmla="*/ 8617797 w 11096739"/>
              <a:gd name="connsiteY5" fmla="*/ 0 h 4691988"/>
              <a:gd name="connsiteX6" fmla="*/ 10294521 w 11096739"/>
              <a:gd name="connsiteY6" fmla="*/ 0 h 4691988"/>
              <a:gd name="connsiteX7" fmla="*/ 10294608 w 11096739"/>
              <a:gd name="connsiteY7" fmla="*/ 18 h 4691988"/>
              <a:gd name="connsiteX8" fmla="*/ 10321503 w 11096739"/>
              <a:gd name="connsiteY8" fmla="*/ 12 h 4691988"/>
              <a:gd name="connsiteX9" fmla="*/ 10375695 w 11096739"/>
              <a:gd name="connsiteY9" fmla="*/ 0 h 4691988"/>
              <a:gd name="connsiteX10" fmla="*/ 10387015 w 11096739"/>
              <a:gd name="connsiteY10" fmla="*/ 1172 h 4691988"/>
              <a:gd name="connsiteX11" fmla="*/ 10403571 w 11096739"/>
              <a:gd name="connsiteY11" fmla="*/ 1172 h 4691988"/>
              <a:gd name="connsiteX12" fmla="*/ 10403570 w 11096739"/>
              <a:gd name="connsiteY12" fmla="*/ 2885 h 4691988"/>
              <a:gd name="connsiteX13" fmla="*/ 10435073 w 11096739"/>
              <a:gd name="connsiteY13" fmla="*/ 6147 h 4691988"/>
              <a:gd name="connsiteX14" fmla="*/ 10590201 w 11096739"/>
              <a:gd name="connsiteY14" fmla="*/ 89572 h 4691988"/>
              <a:gd name="connsiteX15" fmla="*/ 10985005 w 11096739"/>
              <a:gd name="connsiteY15" fmla="*/ 483608 h 4691988"/>
              <a:gd name="connsiteX16" fmla="*/ 11074751 w 11096739"/>
              <a:gd name="connsiteY16" fmla="*/ 697696 h 4691988"/>
              <a:gd name="connsiteX17" fmla="*/ 11074736 w 11096739"/>
              <a:gd name="connsiteY17" fmla="*/ 770767 h 4691988"/>
              <a:gd name="connsiteX18" fmla="*/ 11077129 w 11096739"/>
              <a:gd name="connsiteY18" fmla="*/ 770768 h 4691988"/>
              <a:gd name="connsiteX19" fmla="*/ 11096739 w 11096739"/>
              <a:gd name="connsiteY19" fmla="*/ 4691988 h 4691988"/>
              <a:gd name="connsiteX20" fmla="*/ 143265 w 11096739"/>
              <a:gd name="connsiteY20" fmla="*/ 4675891 h 4691988"/>
              <a:gd name="connsiteX21" fmla="*/ 0 w 11096739"/>
              <a:gd name="connsiteY21" fmla="*/ 4675892 h 4691988"/>
              <a:gd name="connsiteX22" fmla="*/ 11563 w 11096739"/>
              <a:gd name="connsiteY22" fmla="*/ 123847 h 4691988"/>
              <a:gd name="connsiteX23" fmla="*/ 135410 w 11096739"/>
              <a:gd name="connsiteY23" fmla="*/ 0 h 4691988"/>
              <a:gd name="connsiteX0" fmla="*/ 150571 w 11111900"/>
              <a:gd name="connsiteY0" fmla="*/ 0 h 4933470"/>
              <a:gd name="connsiteX1" fmla="*/ 6858018 w 11111900"/>
              <a:gd name="connsiteY1" fmla="*/ 0 h 4933470"/>
              <a:gd name="connsiteX2" fmla="*/ 6858864 w 11111900"/>
              <a:gd name="connsiteY2" fmla="*/ 0 h 4933470"/>
              <a:gd name="connsiteX3" fmla="*/ 8616763 w 11111900"/>
              <a:gd name="connsiteY3" fmla="*/ 0 h 4933470"/>
              <a:gd name="connsiteX4" fmla="*/ 8632111 w 11111900"/>
              <a:gd name="connsiteY4" fmla="*/ 0 h 4933470"/>
              <a:gd name="connsiteX5" fmla="*/ 8632958 w 11111900"/>
              <a:gd name="connsiteY5" fmla="*/ 0 h 4933470"/>
              <a:gd name="connsiteX6" fmla="*/ 10309682 w 11111900"/>
              <a:gd name="connsiteY6" fmla="*/ 0 h 4933470"/>
              <a:gd name="connsiteX7" fmla="*/ 10309769 w 11111900"/>
              <a:gd name="connsiteY7" fmla="*/ 18 h 4933470"/>
              <a:gd name="connsiteX8" fmla="*/ 10336664 w 11111900"/>
              <a:gd name="connsiteY8" fmla="*/ 12 h 4933470"/>
              <a:gd name="connsiteX9" fmla="*/ 10390856 w 11111900"/>
              <a:gd name="connsiteY9" fmla="*/ 0 h 4933470"/>
              <a:gd name="connsiteX10" fmla="*/ 10402176 w 11111900"/>
              <a:gd name="connsiteY10" fmla="*/ 1172 h 4933470"/>
              <a:gd name="connsiteX11" fmla="*/ 10418732 w 11111900"/>
              <a:gd name="connsiteY11" fmla="*/ 1172 h 4933470"/>
              <a:gd name="connsiteX12" fmla="*/ 10418731 w 11111900"/>
              <a:gd name="connsiteY12" fmla="*/ 2885 h 4933470"/>
              <a:gd name="connsiteX13" fmla="*/ 10450234 w 11111900"/>
              <a:gd name="connsiteY13" fmla="*/ 6147 h 4933470"/>
              <a:gd name="connsiteX14" fmla="*/ 10605362 w 11111900"/>
              <a:gd name="connsiteY14" fmla="*/ 89572 h 4933470"/>
              <a:gd name="connsiteX15" fmla="*/ 11000166 w 11111900"/>
              <a:gd name="connsiteY15" fmla="*/ 483608 h 4933470"/>
              <a:gd name="connsiteX16" fmla="*/ 11089912 w 11111900"/>
              <a:gd name="connsiteY16" fmla="*/ 697696 h 4933470"/>
              <a:gd name="connsiteX17" fmla="*/ 11089897 w 11111900"/>
              <a:gd name="connsiteY17" fmla="*/ 770767 h 4933470"/>
              <a:gd name="connsiteX18" fmla="*/ 11092290 w 11111900"/>
              <a:gd name="connsiteY18" fmla="*/ 770768 h 4933470"/>
              <a:gd name="connsiteX19" fmla="*/ 11111900 w 11111900"/>
              <a:gd name="connsiteY19" fmla="*/ 4691988 h 4933470"/>
              <a:gd name="connsiteX20" fmla="*/ 158426 w 11111900"/>
              <a:gd name="connsiteY20" fmla="*/ 4675891 h 4933470"/>
              <a:gd name="connsiteX21" fmla="*/ 15161 w 11111900"/>
              <a:gd name="connsiteY21" fmla="*/ 4675892 h 4933470"/>
              <a:gd name="connsiteX22" fmla="*/ 5514 w 11111900"/>
              <a:gd name="connsiteY22" fmla="*/ 4571266 h 4933470"/>
              <a:gd name="connsiteX23" fmla="*/ 26724 w 11111900"/>
              <a:gd name="connsiteY23" fmla="*/ 123847 h 4933470"/>
              <a:gd name="connsiteX24" fmla="*/ 150571 w 11111900"/>
              <a:gd name="connsiteY24" fmla="*/ 0 h 4933470"/>
              <a:gd name="connsiteX0" fmla="*/ 145057 w 11106386"/>
              <a:gd name="connsiteY0" fmla="*/ 0 h 4691988"/>
              <a:gd name="connsiteX1" fmla="*/ 6852504 w 11106386"/>
              <a:gd name="connsiteY1" fmla="*/ 0 h 4691988"/>
              <a:gd name="connsiteX2" fmla="*/ 6853350 w 11106386"/>
              <a:gd name="connsiteY2" fmla="*/ 0 h 4691988"/>
              <a:gd name="connsiteX3" fmla="*/ 8611249 w 11106386"/>
              <a:gd name="connsiteY3" fmla="*/ 0 h 4691988"/>
              <a:gd name="connsiteX4" fmla="*/ 8626597 w 11106386"/>
              <a:gd name="connsiteY4" fmla="*/ 0 h 4691988"/>
              <a:gd name="connsiteX5" fmla="*/ 8627444 w 11106386"/>
              <a:gd name="connsiteY5" fmla="*/ 0 h 4691988"/>
              <a:gd name="connsiteX6" fmla="*/ 10304168 w 11106386"/>
              <a:gd name="connsiteY6" fmla="*/ 0 h 4691988"/>
              <a:gd name="connsiteX7" fmla="*/ 10304255 w 11106386"/>
              <a:gd name="connsiteY7" fmla="*/ 18 h 4691988"/>
              <a:gd name="connsiteX8" fmla="*/ 10331150 w 11106386"/>
              <a:gd name="connsiteY8" fmla="*/ 12 h 4691988"/>
              <a:gd name="connsiteX9" fmla="*/ 10385342 w 11106386"/>
              <a:gd name="connsiteY9" fmla="*/ 0 h 4691988"/>
              <a:gd name="connsiteX10" fmla="*/ 10396662 w 11106386"/>
              <a:gd name="connsiteY10" fmla="*/ 1172 h 4691988"/>
              <a:gd name="connsiteX11" fmla="*/ 10413218 w 11106386"/>
              <a:gd name="connsiteY11" fmla="*/ 1172 h 4691988"/>
              <a:gd name="connsiteX12" fmla="*/ 10413217 w 11106386"/>
              <a:gd name="connsiteY12" fmla="*/ 2885 h 4691988"/>
              <a:gd name="connsiteX13" fmla="*/ 10444720 w 11106386"/>
              <a:gd name="connsiteY13" fmla="*/ 6147 h 4691988"/>
              <a:gd name="connsiteX14" fmla="*/ 10599848 w 11106386"/>
              <a:gd name="connsiteY14" fmla="*/ 89572 h 4691988"/>
              <a:gd name="connsiteX15" fmla="*/ 10994652 w 11106386"/>
              <a:gd name="connsiteY15" fmla="*/ 483608 h 4691988"/>
              <a:gd name="connsiteX16" fmla="*/ 11084398 w 11106386"/>
              <a:gd name="connsiteY16" fmla="*/ 697696 h 4691988"/>
              <a:gd name="connsiteX17" fmla="*/ 11084383 w 11106386"/>
              <a:gd name="connsiteY17" fmla="*/ 770767 h 4691988"/>
              <a:gd name="connsiteX18" fmla="*/ 11086776 w 11106386"/>
              <a:gd name="connsiteY18" fmla="*/ 770768 h 4691988"/>
              <a:gd name="connsiteX19" fmla="*/ 11106386 w 11106386"/>
              <a:gd name="connsiteY19" fmla="*/ 4691988 h 4691988"/>
              <a:gd name="connsiteX20" fmla="*/ 152912 w 11106386"/>
              <a:gd name="connsiteY20" fmla="*/ 4675891 h 4691988"/>
              <a:gd name="connsiteX21" fmla="*/ 0 w 11106386"/>
              <a:gd name="connsiteY21" fmla="*/ 4571266 h 4691988"/>
              <a:gd name="connsiteX22" fmla="*/ 21210 w 11106386"/>
              <a:gd name="connsiteY22" fmla="*/ 123847 h 4691988"/>
              <a:gd name="connsiteX23" fmla="*/ 145057 w 11106386"/>
              <a:gd name="connsiteY23" fmla="*/ 0 h 4691988"/>
              <a:gd name="connsiteX0" fmla="*/ 145057 w 11106386"/>
              <a:gd name="connsiteY0" fmla="*/ 0 h 4691988"/>
              <a:gd name="connsiteX1" fmla="*/ 6852504 w 11106386"/>
              <a:gd name="connsiteY1" fmla="*/ 0 h 4691988"/>
              <a:gd name="connsiteX2" fmla="*/ 6853350 w 11106386"/>
              <a:gd name="connsiteY2" fmla="*/ 0 h 4691988"/>
              <a:gd name="connsiteX3" fmla="*/ 8611249 w 11106386"/>
              <a:gd name="connsiteY3" fmla="*/ 0 h 4691988"/>
              <a:gd name="connsiteX4" fmla="*/ 8626597 w 11106386"/>
              <a:gd name="connsiteY4" fmla="*/ 0 h 4691988"/>
              <a:gd name="connsiteX5" fmla="*/ 8627444 w 11106386"/>
              <a:gd name="connsiteY5" fmla="*/ 0 h 4691988"/>
              <a:gd name="connsiteX6" fmla="*/ 10304168 w 11106386"/>
              <a:gd name="connsiteY6" fmla="*/ 0 h 4691988"/>
              <a:gd name="connsiteX7" fmla="*/ 10304255 w 11106386"/>
              <a:gd name="connsiteY7" fmla="*/ 18 h 4691988"/>
              <a:gd name="connsiteX8" fmla="*/ 10331150 w 11106386"/>
              <a:gd name="connsiteY8" fmla="*/ 12 h 4691988"/>
              <a:gd name="connsiteX9" fmla="*/ 10385342 w 11106386"/>
              <a:gd name="connsiteY9" fmla="*/ 0 h 4691988"/>
              <a:gd name="connsiteX10" fmla="*/ 10396662 w 11106386"/>
              <a:gd name="connsiteY10" fmla="*/ 1172 h 4691988"/>
              <a:gd name="connsiteX11" fmla="*/ 10413218 w 11106386"/>
              <a:gd name="connsiteY11" fmla="*/ 1172 h 4691988"/>
              <a:gd name="connsiteX12" fmla="*/ 10413217 w 11106386"/>
              <a:gd name="connsiteY12" fmla="*/ 2885 h 4691988"/>
              <a:gd name="connsiteX13" fmla="*/ 10444720 w 11106386"/>
              <a:gd name="connsiteY13" fmla="*/ 6147 h 4691988"/>
              <a:gd name="connsiteX14" fmla="*/ 10599848 w 11106386"/>
              <a:gd name="connsiteY14" fmla="*/ 89572 h 4691988"/>
              <a:gd name="connsiteX15" fmla="*/ 10994652 w 11106386"/>
              <a:gd name="connsiteY15" fmla="*/ 483608 h 4691988"/>
              <a:gd name="connsiteX16" fmla="*/ 11084398 w 11106386"/>
              <a:gd name="connsiteY16" fmla="*/ 697696 h 4691988"/>
              <a:gd name="connsiteX17" fmla="*/ 11084383 w 11106386"/>
              <a:gd name="connsiteY17" fmla="*/ 770767 h 4691988"/>
              <a:gd name="connsiteX18" fmla="*/ 11086776 w 11106386"/>
              <a:gd name="connsiteY18" fmla="*/ 770768 h 4691988"/>
              <a:gd name="connsiteX19" fmla="*/ 11106386 w 11106386"/>
              <a:gd name="connsiteY19" fmla="*/ 4691988 h 4691988"/>
              <a:gd name="connsiteX20" fmla="*/ 152912 w 11106386"/>
              <a:gd name="connsiteY20" fmla="*/ 4675891 h 4691988"/>
              <a:gd name="connsiteX21" fmla="*/ 0 w 11106386"/>
              <a:gd name="connsiteY21" fmla="*/ 4571266 h 4691988"/>
              <a:gd name="connsiteX22" fmla="*/ 21210 w 11106386"/>
              <a:gd name="connsiteY22" fmla="*/ 123847 h 4691988"/>
              <a:gd name="connsiteX23" fmla="*/ 145057 w 11106386"/>
              <a:gd name="connsiteY23" fmla="*/ 0 h 4691988"/>
              <a:gd name="connsiteX0" fmla="*/ 145057 w 11106386"/>
              <a:gd name="connsiteY0" fmla="*/ 0 h 4691988"/>
              <a:gd name="connsiteX1" fmla="*/ 6852504 w 11106386"/>
              <a:gd name="connsiteY1" fmla="*/ 0 h 4691988"/>
              <a:gd name="connsiteX2" fmla="*/ 6853350 w 11106386"/>
              <a:gd name="connsiteY2" fmla="*/ 0 h 4691988"/>
              <a:gd name="connsiteX3" fmla="*/ 8611249 w 11106386"/>
              <a:gd name="connsiteY3" fmla="*/ 0 h 4691988"/>
              <a:gd name="connsiteX4" fmla="*/ 8626597 w 11106386"/>
              <a:gd name="connsiteY4" fmla="*/ 0 h 4691988"/>
              <a:gd name="connsiteX5" fmla="*/ 8627444 w 11106386"/>
              <a:gd name="connsiteY5" fmla="*/ 0 h 4691988"/>
              <a:gd name="connsiteX6" fmla="*/ 10304168 w 11106386"/>
              <a:gd name="connsiteY6" fmla="*/ 0 h 4691988"/>
              <a:gd name="connsiteX7" fmla="*/ 10304255 w 11106386"/>
              <a:gd name="connsiteY7" fmla="*/ 18 h 4691988"/>
              <a:gd name="connsiteX8" fmla="*/ 10331150 w 11106386"/>
              <a:gd name="connsiteY8" fmla="*/ 12 h 4691988"/>
              <a:gd name="connsiteX9" fmla="*/ 10385342 w 11106386"/>
              <a:gd name="connsiteY9" fmla="*/ 0 h 4691988"/>
              <a:gd name="connsiteX10" fmla="*/ 10396662 w 11106386"/>
              <a:gd name="connsiteY10" fmla="*/ 1172 h 4691988"/>
              <a:gd name="connsiteX11" fmla="*/ 10413218 w 11106386"/>
              <a:gd name="connsiteY11" fmla="*/ 1172 h 4691988"/>
              <a:gd name="connsiteX12" fmla="*/ 10413217 w 11106386"/>
              <a:gd name="connsiteY12" fmla="*/ 2885 h 4691988"/>
              <a:gd name="connsiteX13" fmla="*/ 10444720 w 11106386"/>
              <a:gd name="connsiteY13" fmla="*/ 6147 h 4691988"/>
              <a:gd name="connsiteX14" fmla="*/ 10599848 w 11106386"/>
              <a:gd name="connsiteY14" fmla="*/ 89572 h 4691988"/>
              <a:gd name="connsiteX15" fmla="*/ 10994652 w 11106386"/>
              <a:gd name="connsiteY15" fmla="*/ 483608 h 4691988"/>
              <a:gd name="connsiteX16" fmla="*/ 11084398 w 11106386"/>
              <a:gd name="connsiteY16" fmla="*/ 697696 h 4691988"/>
              <a:gd name="connsiteX17" fmla="*/ 11084383 w 11106386"/>
              <a:gd name="connsiteY17" fmla="*/ 770767 h 4691988"/>
              <a:gd name="connsiteX18" fmla="*/ 11086776 w 11106386"/>
              <a:gd name="connsiteY18" fmla="*/ 770768 h 4691988"/>
              <a:gd name="connsiteX19" fmla="*/ 11106386 w 11106386"/>
              <a:gd name="connsiteY19" fmla="*/ 4691988 h 4691988"/>
              <a:gd name="connsiteX20" fmla="*/ 152912 w 11106386"/>
              <a:gd name="connsiteY20" fmla="*/ 4675891 h 4691988"/>
              <a:gd name="connsiteX21" fmla="*/ 0 w 11106386"/>
              <a:gd name="connsiteY21" fmla="*/ 4498835 h 4691988"/>
              <a:gd name="connsiteX22" fmla="*/ 21210 w 11106386"/>
              <a:gd name="connsiteY22" fmla="*/ 123847 h 4691988"/>
              <a:gd name="connsiteX23" fmla="*/ 145057 w 11106386"/>
              <a:gd name="connsiteY23" fmla="*/ 0 h 4691988"/>
              <a:gd name="connsiteX0" fmla="*/ 145500 w 11106829"/>
              <a:gd name="connsiteY0" fmla="*/ 0 h 4691988"/>
              <a:gd name="connsiteX1" fmla="*/ 6852947 w 11106829"/>
              <a:gd name="connsiteY1" fmla="*/ 0 h 4691988"/>
              <a:gd name="connsiteX2" fmla="*/ 6853793 w 11106829"/>
              <a:gd name="connsiteY2" fmla="*/ 0 h 4691988"/>
              <a:gd name="connsiteX3" fmla="*/ 8611692 w 11106829"/>
              <a:gd name="connsiteY3" fmla="*/ 0 h 4691988"/>
              <a:gd name="connsiteX4" fmla="*/ 8627040 w 11106829"/>
              <a:gd name="connsiteY4" fmla="*/ 0 h 4691988"/>
              <a:gd name="connsiteX5" fmla="*/ 8627887 w 11106829"/>
              <a:gd name="connsiteY5" fmla="*/ 0 h 4691988"/>
              <a:gd name="connsiteX6" fmla="*/ 10304611 w 11106829"/>
              <a:gd name="connsiteY6" fmla="*/ 0 h 4691988"/>
              <a:gd name="connsiteX7" fmla="*/ 10304698 w 11106829"/>
              <a:gd name="connsiteY7" fmla="*/ 18 h 4691988"/>
              <a:gd name="connsiteX8" fmla="*/ 10331593 w 11106829"/>
              <a:gd name="connsiteY8" fmla="*/ 12 h 4691988"/>
              <a:gd name="connsiteX9" fmla="*/ 10385785 w 11106829"/>
              <a:gd name="connsiteY9" fmla="*/ 0 h 4691988"/>
              <a:gd name="connsiteX10" fmla="*/ 10397105 w 11106829"/>
              <a:gd name="connsiteY10" fmla="*/ 1172 h 4691988"/>
              <a:gd name="connsiteX11" fmla="*/ 10413661 w 11106829"/>
              <a:gd name="connsiteY11" fmla="*/ 1172 h 4691988"/>
              <a:gd name="connsiteX12" fmla="*/ 10413660 w 11106829"/>
              <a:gd name="connsiteY12" fmla="*/ 2885 h 4691988"/>
              <a:gd name="connsiteX13" fmla="*/ 10445163 w 11106829"/>
              <a:gd name="connsiteY13" fmla="*/ 6147 h 4691988"/>
              <a:gd name="connsiteX14" fmla="*/ 10600291 w 11106829"/>
              <a:gd name="connsiteY14" fmla="*/ 89572 h 4691988"/>
              <a:gd name="connsiteX15" fmla="*/ 10995095 w 11106829"/>
              <a:gd name="connsiteY15" fmla="*/ 483608 h 4691988"/>
              <a:gd name="connsiteX16" fmla="*/ 11084841 w 11106829"/>
              <a:gd name="connsiteY16" fmla="*/ 697696 h 4691988"/>
              <a:gd name="connsiteX17" fmla="*/ 11084826 w 11106829"/>
              <a:gd name="connsiteY17" fmla="*/ 770767 h 4691988"/>
              <a:gd name="connsiteX18" fmla="*/ 11087219 w 11106829"/>
              <a:gd name="connsiteY18" fmla="*/ 770768 h 4691988"/>
              <a:gd name="connsiteX19" fmla="*/ 11106829 w 11106829"/>
              <a:gd name="connsiteY19" fmla="*/ 4691988 h 4691988"/>
              <a:gd name="connsiteX20" fmla="*/ 153355 w 11106829"/>
              <a:gd name="connsiteY20" fmla="*/ 4675891 h 4691988"/>
              <a:gd name="connsiteX21" fmla="*/ 443 w 11106829"/>
              <a:gd name="connsiteY21" fmla="*/ 4498835 h 4691988"/>
              <a:gd name="connsiteX22" fmla="*/ 21653 w 11106829"/>
              <a:gd name="connsiteY22" fmla="*/ 123847 h 4691988"/>
              <a:gd name="connsiteX23" fmla="*/ 145500 w 11106829"/>
              <a:gd name="connsiteY23" fmla="*/ 0 h 4691988"/>
              <a:gd name="connsiteX0" fmla="*/ 145500 w 11916196"/>
              <a:gd name="connsiteY0" fmla="*/ 0 h 4892064"/>
              <a:gd name="connsiteX1" fmla="*/ 6852947 w 11916196"/>
              <a:gd name="connsiteY1" fmla="*/ 0 h 4892064"/>
              <a:gd name="connsiteX2" fmla="*/ 6853793 w 11916196"/>
              <a:gd name="connsiteY2" fmla="*/ 0 h 4892064"/>
              <a:gd name="connsiteX3" fmla="*/ 8611692 w 11916196"/>
              <a:gd name="connsiteY3" fmla="*/ 0 h 4892064"/>
              <a:gd name="connsiteX4" fmla="*/ 8627040 w 11916196"/>
              <a:gd name="connsiteY4" fmla="*/ 0 h 4892064"/>
              <a:gd name="connsiteX5" fmla="*/ 8627887 w 11916196"/>
              <a:gd name="connsiteY5" fmla="*/ 0 h 4892064"/>
              <a:gd name="connsiteX6" fmla="*/ 10304611 w 11916196"/>
              <a:gd name="connsiteY6" fmla="*/ 0 h 4892064"/>
              <a:gd name="connsiteX7" fmla="*/ 10304698 w 11916196"/>
              <a:gd name="connsiteY7" fmla="*/ 18 h 4892064"/>
              <a:gd name="connsiteX8" fmla="*/ 10331593 w 11916196"/>
              <a:gd name="connsiteY8" fmla="*/ 12 h 4892064"/>
              <a:gd name="connsiteX9" fmla="*/ 10385785 w 11916196"/>
              <a:gd name="connsiteY9" fmla="*/ 0 h 4892064"/>
              <a:gd name="connsiteX10" fmla="*/ 10397105 w 11916196"/>
              <a:gd name="connsiteY10" fmla="*/ 1172 h 4892064"/>
              <a:gd name="connsiteX11" fmla="*/ 10413661 w 11916196"/>
              <a:gd name="connsiteY11" fmla="*/ 1172 h 4892064"/>
              <a:gd name="connsiteX12" fmla="*/ 10413660 w 11916196"/>
              <a:gd name="connsiteY12" fmla="*/ 2885 h 4892064"/>
              <a:gd name="connsiteX13" fmla="*/ 10445163 w 11916196"/>
              <a:gd name="connsiteY13" fmla="*/ 6147 h 4892064"/>
              <a:gd name="connsiteX14" fmla="*/ 10600291 w 11916196"/>
              <a:gd name="connsiteY14" fmla="*/ 89572 h 4892064"/>
              <a:gd name="connsiteX15" fmla="*/ 10995095 w 11916196"/>
              <a:gd name="connsiteY15" fmla="*/ 483608 h 4892064"/>
              <a:gd name="connsiteX16" fmla="*/ 11084841 w 11916196"/>
              <a:gd name="connsiteY16" fmla="*/ 697696 h 4892064"/>
              <a:gd name="connsiteX17" fmla="*/ 11084826 w 11916196"/>
              <a:gd name="connsiteY17" fmla="*/ 770767 h 4892064"/>
              <a:gd name="connsiteX18" fmla="*/ 11087219 w 11916196"/>
              <a:gd name="connsiteY18" fmla="*/ 770768 h 4892064"/>
              <a:gd name="connsiteX19" fmla="*/ 11098641 w 11916196"/>
              <a:gd name="connsiteY19" fmla="*/ 4571266 h 4892064"/>
              <a:gd name="connsiteX20" fmla="*/ 11106829 w 11916196"/>
              <a:gd name="connsiteY20" fmla="*/ 4691988 h 4892064"/>
              <a:gd name="connsiteX21" fmla="*/ 153355 w 11916196"/>
              <a:gd name="connsiteY21" fmla="*/ 4675891 h 4892064"/>
              <a:gd name="connsiteX22" fmla="*/ 443 w 11916196"/>
              <a:gd name="connsiteY22" fmla="*/ 4498835 h 4892064"/>
              <a:gd name="connsiteX23" fmla="*/ 21653 w 11916196"/>
              <a:gd name="connsiteY23" fmla="*/ 123847 h 4892064"/>
              <a:gd name="connsiteX24" fmla="*/ 145500 w 11916196"/>
              <a:gd name="connsiteY24" fmla="*/ 0 h 4892064"/>
              <a:gd name="connsiteX0" fmla="*/ 145500 w 11116337"/>
              <a:gd name="connsiteY0" fmla="*/ 0 h 4891358"/>
              <a:gd name="connsiteX1" fmla="*/ 6852947 w 11116337"/>
              <a:gd name="connsiteY1" fmla="*/ 0 h 4891358"/>
              <a:gd name="connsiteX2" fmla="*/ 6853793 w 11116337"/>
              <a:gd name="connsiteY2" fmla="*/ 0 h 4891358"/>
              <a:gd name="connsiteX3" fmla="*/ 8611692 w 11116337"/>
              <a:gd name="connsiteY3" fmla="*/ 0 h 4891358"/>
              <a:gd name="connsiteX4" fmla="*/ 8627040 w 11116337"/>
              <a:gd name="connsiteY4" fmla="*/ 0 h 4891358"/>
              <a:gd name="connsiteX5" fmla="*/ 8627887 w 11116337"/>
              <a:gd name="connsiteY5" fmla="*/ 0 h 4891358"/>
              <a:gd name="connsiteX6" fmla="*/ 10304611 w 11116337"/>
              <a:gd name="connsiteY6" fmla="*/ 0 h 4891358"/>
              <a:gd name="connsiteX7" fmla="*/ 10304698 w 11116337"/>
              <a:gd name="connsiteY7" fmla="*/ 18 h 4891358"/>
              <a:gd name="connsiteX8" fmla="*/ 10331593 w 11116337"/>
              <a:gd name="connsiteY8" fmla="*/ 12 h 4891358"/>
              <a:gd name="connsiteX9" fmla="*/ 10385785 w 11116337"/>
              <a:gd name="connsiteY9" fmla="*/ 0 h 4891358"/>
              <a:gd name="connsiteX10" fmla="*/ 10397105 w 11116337"/>
              <a:gd name="connsiteY10" fmla="*/ 1172 h 4891358"/>
              <a:gd name="connsiteX11" fmla="*/ 10413661 w 11116337"/>
              <a:gd name="connsiteY11" fmla="*/ 1172 h 4891358"/>
              <a:gd name="connsiteX12" fmla="*/ 10413660 w 11116337"/>
              <a:gd name="connsiteY12" fmla="*/ 2885 h 4891358"/>
              <a:gd name="connsiteX13" fmla="*/ 10445163 w 11116337"/>
              <a:gd name="connsiteY13" fmla="*/ 6147 h 4891358"/>
              <a:gd name="connsiteX14" fmla="*/ 10600291 w 11116337"/>
              <a:gd name="connsiteY14" fmla="*/ 89572 h 4891358"/>
              <a:gd name="connsiteX15" fmla="*/ 10995095 w 11116337"/>
              <a:gd name="connsiteY15" fmla="*/ 483608 h 4891358"/>
              <a:gd name="connsiteX16" fmla="*/ 11084841 w 11116337"/>
              <a:gd name="connsiteY16" fmla="*/ 697696 h 4891358"/>
              <a:gd name="connsiteX17" fmla="*/ 11084826 w 11116337"/>
              <a:gd name="connsiteY17" fmla="*/ 770767 h 4891358"/>
              <a:gd name="connsiteX18" fmla="*/ 11087219 w 11116337"/>
              <a:gd name="connsiteY18" fmla="*/ 770768 h 4891358"/>
              <a:gd name="connsiteX19" fmla="*/ 11098641 w 11116337"/>
              <a:gd name="connsiteY19" fmla="*/ 4571266 h 4891358"/>
              <a:gd name="connsiteX20" fmla="*/ 11106829 w 11116337"/>
              <a:gd name="connsiteY20" fmla="*/ 4691988 h 4891358"/>
              <a:gd name="connsiteX21" fmla="*/ 10953777 w 11116337"/>
              <a:gd name="connsiteY21" fmla="*/ 4691985 h 4891358"/>
              <a:gd name="connsiteX22" fmla="*/ 153355 w 11116337"/>
              <a:gd name="connsiteY22" fmla="*/ 4675891 h 4891358"/>
              <a:gd name="connsiteX23" fmla="*/ 443 w 11116337"/>
              <a:gd name="connsiteY23" fmla="*/ 4498835 h 4891358"/>
              <a:gd name="connsiteX24" fmla="*/ 21653 w 11116337"/>
              <a:gd name="connsiteY24" fmla="*/ 123847 h 4891358"/>
              <a:gd name="connsiteX25" fmla="*/ 145500 w 11116337"/>
              <a:gd name="connsiteY25" fmla="*/ 0 h 4891358"/>
              <a:gd name="connsiteX0" fmla="*/ 145500 w 11798547"/>
              <a:gd name="connsiteY0" fmla="*/ 0 h 4892062"/>
              <a:gd name="connsiteX1" fmla="*/ 6852947 w 11798547"/>
              <a:gd name="connsiteY1" fmla="*/ 0 h 4892062"/>
              <a:gd name="connsiteX2" fmla="*/ 6853793 w 11798547"/>
              <a:gd name="connsiteY2" fmla="*/ 0 h 4892062"/>
              <a:gd name="connsiteX3" fmla="*/ 8611692 w 11798547"/>
              <a:gd name="connsiteY3" fmla="*/ 0 h 4892062"/>
              <a:gd name="connsiteX4" fmla="*/ 8627040 w 11798547"/>
              <a:gd name="connsiteY4" fmla="*/ 0 h 4892062"/>
              <a:gd name="connsiteX5" fmla="*/ 8627887 w 11798547"/>
              <a:gd name="connsiteY5" fmla="*/ 0 h 4892062"/>
              <a:gd name="connsiteX6" fmla="*/ 10304611 w 11798547"/>
              <a:gd name="connsiteY6" fmla="*/ 0 h 4892062"/>
              <a:gd name="connsiteX7" fmla="*/ 10304698 w 11798547"/>
              <a:gd name="connsiteY7" fmla="*/ 18 h 4892062"/>
              <a:gd name="connsiteX8" fmla="*/ 10331593 w 11798547"/>
              <a:gd name="connsiteY8" fmla="*/ 12 h 4892062"/>
              <a:gd name="connsiteX9" fmla="*/ 10385785 w 11798547"/>
              <a:gd name="connsiteY9" fmla="*/ 0 h 4892062"/>
              <a:gd name="connsiteX10" fmla="*/ 10397105 w 11798547"/>
              <a:gd name="connsiteY10" fmla="*/ 1172 h 4892062"/>
              <a:gd name="connsiteX11" fmla="*/ 10413661 w 11798547"/>
              <a:gd name="connsiteY11" fmla="*/ 1172 h 4892062"/>
              <a:gd name="connsiteX12" fmla="*/ 10413660 w 11798547"/>
              <a:gd name="connsiteY12" fmla="*/ 2885 h 4892062"/>
              <a:gd name="connsiteX13" fmla="*/ 10445163 w 11798547"/>
              <a:gd name="connsiteY13" fmla="*/ 6147 h 4892062"/>
              <a:gd name="connsiteX14" fmla="*/ 10600291 w 11798547"/>
              <a:gd name="connsiteY14" fmla="*/ 89572 h 4892062"/>
              <a:gd name="connsiteX15" fmla="*/ 10995095 w 11798547"/>
              <a:gd name="connsiteY15" fmla="*/ 483608 h 4892062"/>
              <a:gd name="connsiteX16" fmla="*/ 11084841 w 11798547"/>
              <a:gd name="connsiteY16" fmla="*/ 697696 h 4892062"/>
              <a:gd name="connsiteX17" fmla="*/ 11084826 w 11798547"/>
              <a:gd name="connsiteY17" fmla="*/ 770767 h 4892062"/>
              <a:gd name="connsiteX18" fmla="*/ 11087219 w 11798547"/>
              <a:gd name="connsiteY18" fmla="*/ 770768 h 4892062"/>
              <a:gd name="connsiteX19" fmla="*/ 11098641 w 11798547"/>
              <a:gd name="connsiteY19" fmla="*/ 4571266 h 4892062"/>
              <a:gd name="connsiteX20" fmla="*/ 10953777 w 11798547"/>
              <a:gd name="connsiteY20" fmla="*/ 4691985 h 4892062"/>
              <a:gd name="connsiteX21" fmla="*/ 153355 w 11798547"/>
              <a:gd name="connsiteY21" fmla="*/ 4675891 h 4892062"/>
              <a:gd name="connsiteX22" fmla="*/ 443 w 11798547"/>
              <a:gd name="connsiteY22" fmla="*/ 4498835 h 4892062"/>
              <a:gd name="connsiteX23" fmla="*/ 21653 w 11798547"/>
              <a:gd name="connsiteY23" fmla="*/ 123847 h 4892062"/>
              <a:gd name="connsiteX24" fmla="*/ 145500 w 11798547"/>
              <a:gd name="connsiteY24" fmla="*/ 0 h 4892062"/>
              <a:gd name="connsiteX0" fmla="*/ 145500 w 11808229"/>
              <a:gd name="connsiteY0" fmla="*/ 0 h 4691984"/>
              <a:gd name="connsiteX1" fmla="*/ 6852947 w 11808229"/>
              <a:gd name="connsiteY1" fmla="*/ 0 h 4691984"/>
              <a:gd name="connsiteX2" fmla="*/ 6853793 w 11808229"/>
              <a:gd name="connsiteY2" fmla="*/ 0 h 4691984"/>
              <a:gd name="connsiteX3" fmla="*/ 8611692 w 11808229"/>
              <a:gd name="connsiteY3" fmla="*/ 0 h 4691984"/>
              <a:gd name="connsiteX4" fmla="*/ 8627040 w 11808229"/>
              <a:gd name="connsiteY4" fmla="*/ 0 h 4691984"/>
              <a:gd name="connsiteX5" fmla="*/ 8627887 w 11808229"/>
              <a:gd name="connsiteY5" fmla="*/ 0 h 4691984"/>
              <a:gd name="connsiteX6" fmla="*/ 10304611 w 11808229"/>
              <a:gd name="connsiteY6" fmla="*/ 0 h 4691984"/>
              <a:gd name="connsiteX7" fmla="*/ 10304698 w 11808229"/>
              <a:gd name="connsiteY7" fmla="*/ 18 h 4691984"/>
              <a:gd name="connsiteX8" fmla="*/ 10331593 w 11808229"/>
              <a:gd name="connsiteY8" fmla="*/ 12 h 4691984"/>
              <a:gd name="connsiteX9" fmla="*/ 10385785 w 11808229"/>
              <a:gd name="connsiteY9" fmla="*/ 0 h 4691984"/>
              <a:gd name="connsiteX10" fmla="*/ 10397105 w 11808229"/>
              <a:gd name="connsiteY10" fmla="*/ 1172 h 4691984"/>
              <a:gd name="connsiteX11" fmla="*/ 10413661 w 11808229"/>
              <a:gd name="connsiteY11" fmla="*/ 1172 h 4691984"/>
              <a:gd name="connsiteX12" fmla="*/ 10413660 w 11808229"/>
              <a:gd name="connsiteY12" fmla="*/ 2885 h 4691984"/>
              <a:gd name="connsiteX13" fmla="*/ 10445163 w 11808229"/>
              <a:gd name="connsiteY13" fmla="*/ 6147 h 4691984"/>
              <a:gd name="connsiteX14" fmla="*/ 10600291 w 11808229"/>
              <a:gd name="connsiteY14" fmla="*/ 89572 h 4691984"/>
              <a:gd name="connsiteX15" fmla="*/ 10995095 w 11808229"/>
              <a:gd name="connsiteY15" fmla="*/ 483608 h 4691984"/>
              <a:gd name="connsiteX16" fmla="*/ 11084841 w 11808229"/>
              <a:gd name="connsiteY16" fmla="*/ 697696 h 4691984"/>
              <a:gd name="connsiteX17" fmla="*/ 11084826 w 11808229"/>
              <a:gd name="connsiteY17" fmla="*/ 770767 h 4691984"/>
              <a:gd name="connsiteX18" fmla="*/ 11087219 w 11808229"/>
              <a:gd name="connsiteY18" fmla="*/ 770768 h 4691984"/>
              <a:gd name="connsiteX19" fmla="*/ 11098641 w 11808229"/>
              <a:gd name="connsiteY19" fmla="*/ 4571266 h 4691984"/>
              <a:gd name="connsiteX20" fmla="*/ 10953777 w 11808229"/>
              <a:gd name="connsiteY20" fmla="*/ 4691985 h 4691984"/>
              <a:gd name="connsiteX21" fmla="*/ 153355 w 11808229"/>
              <a:gd name="connsiteY21" fmla="*/ 4675891 h 4691984"/>
              <a:gd name="connsiteX22" fmla="*/ 443 w 11808229"/>
              <a:gd name="connsiteY22" fmla="*/ 4498835 h 4691984"/>
              <a:gd name="connsiteX23" fmla="*/ 21653 w 11808229"/>
              <a:gd name="connsiteY23" fmla="*/ 123847 h 4691984"/>
              <a:gd name="connsiteX24" fmla="*/ 145500 w 11808229"/>
              <a:gd name="connsiteY24" fmla="*/ 0 h 4691984"/>
              <a:gd name="connsiteX0" fmla="*/ 145500 w 11108297"/>
              <a:gd name="connsiteY0" fmla="*/ 0 h 4694190"/>
              <a:gd name="connsiteX1" fmla="*/ 6852947 w 11108297"/>
              <a:gd name="connsiteY1" fmla="*/ 0 h 4694190"/>
              <a:gd name="connsiteX2" fmla="*/ 6853793 w 11108297"/>
              <a:gd name="connsiteY2" fmla="*/ 0 h 4694190"/>
              <a:gd name="connsiteX3" fmla="*/ 8611692 w 11108297"/>
              <a:gd name="connsiteY3" fmla="*/ 0 h 4694190"/>
              <a:gd name="connsiteX4" fmla="*/ 8627040 w 11108297"/>
              <a:gd name="connsiteY4" fmla="*/ 0 h 4694190"/>
              <a:gd name="connsiteX5" fmla="*/ 8627887 w 11108297"/>
              <a:gd name="connsiteY5" fmla="*/ 0 h 4694190"/>
              <a:gd name="connsiteX6" fmla="*/ 10304611 w 11108297"/>
              <a:gd name="connsiteY6" fmla="*/ 0 h 4694190"/>
              <a:gd name="connsiteX7" fmla="*/ 10304698 w 11108297"/>
              <a:gd name="connsiteY7" fmla="*/ 18 h 4694190"/>
              <a:gd name="connsiteX8" fmla="*/ 10331593 w 11108297"/>
              <a:gd name="connsiteY8" fmla="*/ 12 h 4694190"/>
              <a:gd name="connsiteX9" fmla="*/ 10385785 w 11108297"/>
              <a:gd name="connsiteY9" fmla="*/ 0 h 4694190"/>
              <a:gd name="connsiteX10" fmla="*/ 10397105 w 11108297"/>
              <a:gd name="connsiteY10" fmla="*/ 1172 h 4694190"/>
              <a:gd name="connsiteX11" fmla="*/ 10413661 w 11108297"/>
              <a:gd name="connsiteY11" fmla="*/ 1172 h 4694190"/>
              <a:gd name="connsiteX12" fmla="*/ 10413660 w 11108297"/>
              <a:gd name="connsiteY12" fmla="*/ 2885 h 4694190"/>
              <a:gd name="connsiteX13" fmla="*/ 10445163 w 11108297"/>
              <a:gd name="connsiteY13" fmla="*/ 6147 h 4694190"/>
              <a:gd name="connsiteX14" fmla="*/ 10600291 w 11108297"/>
              <a:gd name="connsiteY14" fmla="*/ 89572 h 4694190"/>
              <a:gd name="connsiteX15" fmla="*/ 10995095 w 11108297"/>
              <a:gd name="connsiteY15" fmla="*/ 483608 h 4694190"/>
              <a:gd name="connsiteX16" fmla="*/ 11084841 w 11108297"/>
              <a:gd name="connsiteY16" fmla="*/ 697696 h 4694190"/>
              <a:gd name="connsiteX17" fmla="*/ 11084826 w 11108297"/>
              <a:gd name="connsiteY17" fmla="*/ 770767 h 4694190"/>
              <a:gd name="connsiteX18" fmla="*/ 11087219 w 11108297"/>
              <a:gd name="connsiteY18" fmla="*/ 770768 h 4694190"/>
              <a:gd name="connsiteX19" fmla="*/ 11098641 w 11108297"/>
              <a:gd name="connsiteY19" fmla="*/ 4571266 h 4694190"/>
              <a:gd name="connsiteX20" fmla="*/ 10953777 w 11108297"/>
              <a:gd name="connsiteY20" fmla="*/ 4691985 h 4694190"/>
              <a:gd name="connsiteX21" fmla="*/ 153355 w 11108297"/>
              <a:gd name="connsiteY21" fmla="*/ 4675891 h 4694190"/>
              <a:gd name="connsiteX22" fmla="*/ 443 w 11108297"/>
              <a:gd name="connsiteY22" fmla="*/ 4498835 h 4694190"/>
              <a:gd name="connsiteX23" fmla="*/ 21653 w 11108297"/>
              <a:gd name="connsiteY23" fmla="*/ 123847 h 4694190"/>
              <a:gd name="connsiteX24" fmla="*/ 145500 w 11108297"/>
              <a:gd name="connsiteY24" fmla="*/ 0 h 4694190"/>
              <a:gd name="connsiteX0" fmla="*/ 145500 w 11114915"/>
              <a:gd name="connsiteY0" fmla="*/ 0 h 4693176"/>
              <a:gd name="connsiteX1" fmla="*/ 6852947 w 11114915"/>
              <a:gd name="connsiteY1" fmla="*/ 0 h 4693176"/>
              <a:gd name="connsiteX2" fmla="*/ 6853793 w 11114915"/>
              <a:gd name="connsiteY2" fmla="*/ 0 h 4693176"/>
              <a:gd name="connsiteX3" fmla="*/ 8611692 w 11114915"/>
              <a:gd name="connsiteY3" fmla="*/ 0 h 4693176"/>
              <a:gd name="connsiteX4" fmla="*/ 8627040 w 11114915"/>
              <a:gd name="connsiteY4" fmla="*/ 0 h 4693176"/>
              <a:gd name="connsiteX5" fmla="*/ 8627887 w 11114915"/>
              <a:gd name="connsiteY5" fmla="*/ 0 h 4693176"/>
              <a:gd name="connsiteX6" fmla="*/ 10304611 w 11114915"/>
              <a:gd name="connsiteY6" fmla="*/ 0 h 4693176"/>
              <a:gd name="connsiteX7" fmla="*/ 10304698 w 11114915"/>
              <a:gd name="connsiteY7" fmla="*/ 18 h 4693176"/>
              <a:gd name="connsiteX8" fmla="*/ 10331593 w 11114915"/>
              <a:gd name="connsiteY8" fmla="*/ 12 h 4693176"/>
              <a:gd name="connsiteX9" fmla="*/ 10385785 w 11114915"/>
              <a:gd name="connsiteY9" fmla="*/ 0 h 4693176"/>
              <a:gd name="connsiteX10" fmla="*/ 10397105 w 11114915"/>
              <a:gd name="connsiteY10" fmla="*/ 1172 h 4693176"/>
              <a:gd name="connsiteX11" fmla="*/ 10413661 w 11114915"/>
              <a:gd name="connsiteY11" fmla="*/ 1172 h 4693176"/>
              <a:gd name="connsiteX12" fmla="*/ 10413660 w 11114915"/>
              <a:gd name="connsiteY12" fmla="*/ 2885 h 4693176"/>
              <a:gd name="connsiteX13" fmla="*/ 10445163 w 11114915"/>
              <a:gd name="connsiteY13" fmla="*/ 6147 h 4693176"/>
              <a:gd name="connsiteX14" fmla="*/ 10600291 w 11114915"/>
              <a:gd name="connsiteY14" fmla="*/ 89572 h 4693176"/>
              <a:gd name="connsiteX15" fmla="*/ 10995095 w 11114915"/>
              <a:gd name="connsiteY15" fmla="*/ 483608 h 4693176"/>
              <a:gd name="connsiteX16" fmla="*/ 11084841 w 11114915"/>
              <a:gd name="connsiteY16" fmla="*/ 697696 h 4693176"/>
              <a:gd name="connsiteX17" fmla="*/ 11084826 w 11114915"/>
              <a:gd name="connsiteY17" fmla="*/ 770767 h 4693176"/>
              <a:gd name="connsiteX18" fmla="*/ 11087219 w 11114915"/>
              <a:gd name="connsiteY18" fmla="*/ 770768 h 4693176"/>
              <a:gd name="connsiteX19" fmla="*/ 11106690 w 11114915"/>
              <a:gd name="connsiteY19" fmla="*/ 4506882 h 4693176"/>
              <a:gd name="connsiteX20" fmla="*/ 10953777 w 11114915"/>
              <a:gd name="connsiteY20" fmla="*/ 4691985 h 4693176"/>
              <a:gd name="connsiteX21" fmla="*/ 153355 w 11114915"/>
              <a:gd name="connsiteY21" fmla="*/ 4675891 h 4693176"/>
              <a:gd name="connsiteX22" fmla="*/ 443 w 11114915"/>
              <a:gd name="connsiteY22" fmla="*/ 4498835 h 4693176"/>
              <a:gd name="connsiteX23" fmla="*/ 21653 w 11114915"/>
              <a:gd name="connsiteY23" fmla="*/ 123847 h 4693176"/>
              <a:gd name="connsiteX24" fmla="*/ 145500 w 11114915"/>
              <a:gd name="connsiteY24" fmla="*/ 0 h 4693176"/>
              <a:gd name="connsiteX0" fmla="*/ 145500 w 11113468"/>
              <a:gd name="connsiteY0" fmla="*/ 0 h 4694351"/>
              <a:gd name="connsiteX1" fmla="*/ 6852947 w 11113468"/>
              <a:gd name="connsiteY1" fmla="*/ 0 h 4694351"/>
              <a:gd name="connsiteX2" fmla="*/ 6853793 w 11113468"/>
              <a:gd name="connsiteY2" fmla="*/ 0 h 4694351"/>
              <a:gd name="connsiteX3" fmla="*/ 8611692 w 11113468"/>
              <a:gd name="connsiteY3" fmla="*/ 0 h 4694351"/>
              <a:gd name="connsiteX4" fmla="*/ 8627040 w 11113468"/>
              <a:gd name="connsiteY4" fmla="*/ 0 h 4694351"/>
              <a:gd name="connsiteX5" fmla="*/ 8627887 w 11113468"/>
              <a:gd name="connsiteY5" fmla="*/ 0 h 4694351"/>
              <a:gd name="connsiteX6" fmla="*/ 10304611 w 11113468"/>
              <a:gd name="connsiteY6" fmla="*/ 0 h 4694351"/>
              <a:gd name="connsiteX7" fmla="*/ 10304698 w 11113468"/>
              <a:gd name="connsiteY7" fmla="*/ 18 h 4694351"/>
              <a:gd name="connsiteX8" fmla="*/ 10331593 w 11113468"/>
              <a:gd name="connsiteY8" fmla="*/ 12 h 4694351"/>
              <a:gd name="connsiteX9" fmla="*/ 10385785 w 11113468"/>
              <a:gd name="connsiteY9" fmla="*/ 0 h 4694351"/>
              <a:gd name="connsiteX10" fmla="*/ 10397105 w 11113468"/>
              <a:gd name="connsiteY10" fmla="*/ 1172 h 4694351"/>
              <a:gd name="connsiteX11" fmla="*/ 10413661 w 11113468"/>
              <a:gd name="connsiteY11" fmla="*/ 1172 h 4694351"/>
              <a:gd name="connsiteX12" fmla="*/ 10413660 w 11113468"/>
              <a:gd name="connsiteY12" fmla="*/ 2885 h 4694351"/>
              <a:gd name="connsiteX13" fmla="*/ 10445163 w 11113468"/>
              <a:gd name="connsiteY13" fmla="*/ 6147 h 4694351"/>
              <a:gd name="connsiteX14" fmla="*/ 10600291 w 11113468"/>
              <a:gd name="connsiteY14" fmla="*/ 89572 h 4694351"/>
              <a:gd name="connsiteX15" fmla="*/ 10995095 w 11113468"/>
              <a:gd name="connsiteY15" fmla="*/ 483608 h 4694351"/>
              <a:gd name="connsiteX16" fmla="*/ 11084841 w 11113468"/>
              <a:gd name="connsiteY16" fmla="*/ 697696 h 4694351"/>
              <a:gd name="connsiteX17" fmla="*/ 11084826 w 11113468"/>
              <a:gd name="connsiteY17" fmla="*/ 770767 h 4694351"/>
              <a:gd name="connsiteX18" fmla="*/ 11087219 w 11113468"/>
              <a:gd name="connsiteY18" fmla="*/ 770768 h 4694351"/>
              <a:gd name="connsiteX19" fmla="*/ 11106690 w 11113468"/>
              <a:gd name="connsiteY19" fmla="*/ 4506882 h 4694351"/>
              <a:gd name="connsiteX20" fmla="*/ 10953777 w 11113468"/>
              <a:gd name="connsiteY20" fmla="*/ 4691985 h 4694351"/>
              <a:gd name="connsiteX21" fmla="*/ 153355 w 11113468"/>
              <a:gd name="connsiteY21" fmla="*/ 4675891 h 4694351"/>
              <a:gd name="connsiteX22" fmla="*/ 443 w 11113468"/>
              <a:gd name="connsiteY22" fmla="*/ 4498835 h 4694351"/>
              <a:gd name="connsiteX23" fmla="*/ 21653 w 11113468"/>
              <a:gd name="connsiteY23" fmla="*/ 123847 h 4694351"/>
              <a:gd name="connsiteX24" fmla="*/ 145500 w 11113468"/>
              <a:gd name="connsiteY24" fmla="*/ 0 h 4694351"/>
              <a:gd name="connsiteX0" fmla="*/ 145500 w 11111532"/>
              <a:gd name="connsiteY0" fmla="*/ 0 h 4694351"/>
              <a:gd name="connsiteX1" fmla="*/ 6852947 w 11111532"/>
              <a:gd name="connsiteY1" fmla="*/ 0 h 4694351"/>
              <a:gd name="connsiteX2" fmla="*/ 6853793 w 11111532"/>
              <a:gd name="connsiteY2" fmla="*/ 0 h 4694351"/>
              <a:gd name="connsiteX3" fmla="*/ 8611692 w 11111532"/>
              <a:gd name="connsiteY3" fmla="*/ 0 h 4694351"/>
              <a:gd name="connsiteX4" fmla="*/ 8627040 w 11111532"/>
              <a:gd name="connsiteY4" fmla="*/ 0 h 4694351"/>
              <a:gd name="connsiteX5" fmla="*/ 8627887 w 11111532"/>
              <a:gd name="connsiteY5" fmla="*/ 0 h 4694351"/>
              <a:gd name="connsiteX6" fmla="*/ 10304611 w 11111532"/>
              <a:gd name="connsiteY6" fmla="*/ 0 h 4694351"/>
              <a:gd name="connsiteX7" fmla="*/ 10304698 w 11111532"/>
              <a:gd name="connsiteY7" fmla="*/ 18 h 4694351"/>
              <a:gd name="connsiteX8" fmla="*/ 10331593 w 11111532"/>
              <a:gd name="connsiteY8" fmla="*/ 12 h 4694351"/>
              <a:gd name="connsiteX9" fmla="*/ 10385785 w 11111532"/>
              <a:gd name="connsiteY9" fmla="*/ 0 h 4694351"/>
              <a:gd name="connsiteX10" fmla="*/ 10397105 w 11111532"/>
              <a:gd name="connsiteY10" fmla="*/ 1172 h 4694351"/>
              <a:gd name="connsiteX11" fmla="*/ 10413661 w 11111532"/>
              <a:gd name="connsiteY11" fmla="*/ 1172 h 4694351"/>
              <a:gd name="connsiteX12" fmla="*/ 10413660 w 11111532"/>
              <a:gd name="connsiteY12" fmla="*/ 2885 h 4694351"/>
              <a:gd name="connsiteX13" fmla="*/ 10445163 w 11111532"/>
              <a:gd name="connsiteY13" fmla="*/ 6147 h 4694351"/>
              <a:gd name="connsiteX14" fmla="*/ 10600291 w 11111532"/>
              <a:gd name="connsiteY14" fmla="*/ 89572 h 4694351"/>
              <a:gd name="connsiteX15" fmla="*/ 10995095 w 11111532"/>
              <a:gd name="connsiteY15" fmla="*/ 483608 h 4694351"/>
              <a:gd name="connsiteX16" fmla="*/ 11084841 w 11111532"/>
              <a:gd name="connsiteY16" fmla="*/ 697696 h 4694351"/>
              <a:gd name="connsiteX17" fmla="*/ 11084826 w 11111532"/>
              <a:gd name="connsiteY17" fmla="*/ 770767 h 4694351"/>
              <a:gd name="connsiteX18" fmla="*/ 11087219 w 11111532"/>
              <a:gd name="connsiteY18" fmla="*/ 770768 h 4694351"/>
              <a:gd name="connsiteX19" fmla="*/ 11106690 w 11111532"/>
              <a:gd name="connsiteY19" fmla="*/ 4506882 h 4694351"/>
              <a:gd name="connsiteX20" fmla="*/ 10953777 w 11111532"/>
              <a:gd name="connsiteY20" fmla="*/ 4691985 h 4694351"/>
              <a:gd name="connsiteX21" fmla="*/ 153355 w 11111532"/>
              <a:gd name="connsiteY21" fmla="*/ 4675891 h 4694351"/>
              <a:gd name="connsiteX22" fmla="*/ 443 w 11111532"/>
              <a:gd name="connsiteY22" fmla="*/ 4498835 h 4694351"/>
              <a:gd name="connsiteX23" fmla="*/ 21653 w 11111532"/>
              <a:gd name="connsiteY23" fmla="*/ 123847 h 4694351"/>
              <a:gd name="connsiteX24" fmla="*/ 145500 w 11111532"/>
              <a:gd name="connsiteY24" fmla="*/ 0 h 4694351"/>
              <a:gd name="connsiteX0" fmla="*/ 145500 w 11107716"/>
              <a:gd name="connsiteY0" fmla="*/ 0 h 4702170"/>
              <a:gd name="connsiteX1" fmla="*/ 6852947 w 11107716"/>
              <a:gd name="connsiteY1" fmla="*/ 0 h 4702170"/>
              <a:gd name="connsiteX2" fmla="*/ 6853793 w 11107716"/>
              <a:gd name="connsiteY2" fmla="*/ 0 h 4702170"/>
              <a:gd name="connsiteX3" fmla="*/ 8611692 w 11107716"/>
              <a:gd name="connsiteY3" fmla="*/ 0 h 4702170"/>
              <a:gd name="connsiteX4" fmla="*/ 8627040 w 11107716"/>
              <a:gd name="connsiteY4" fmla="*/ 0 h 4702170"/>
              <a:gd name="connsiteX5" fmla="*/ 8627887 w 11107716"/>
              <a:gd name="connsiteY5" fmla="*/ 0 h 4702170"/>
              <a:gd name="connsiteX6" fmla="*/ 10304611 w 11107716"/>
              <a:gd name="connsiteY6" fmla="*/ 0 h 4702170"/>
              <a:gd name="connsiteX7" fmla="*/ 10304698 w 11107716"/>
              <a:gd name="connsiteY7" fmla="*/ 18 h 4702170"/>
              <a:gd name="connsiteX8" fmla="*/ 10331593 w 11107716"/>
              <a:gd name="connsiteY8" fmla="*/ 12 h 4702170"/>
              <a:gd name="connsiteX9" fmla="*/ 10385785 w 11107716"/>
              <a:gd name="connsiteY9" fmla="*/ 0 h 4702170"/>
              <a:gd name="connsiteX10" fmla="*/ 10397105 w 11107716"/>
              <a:gd name="connsiteY10" fmla="*/ 1172 h 4702170"/>
              <a:gd name="connsiteX11" fmla="*/ 10413661 w 11107716"/>
              <a:gd name="connsiteY11" fmla="*/ 1172 h 4702170"/>
              <a:gd name="connsiteX12" fmla="*/ 10413660 w 11107716"/>
              <a:gd name="connsiteY12" fmla="*/ 2885 h 4702170"/>
              <a:gd name="connsiteX13" fmla="*/ 10445163 w 11107716"/>
              <a:gd name="connsiteY13" fmla="*/ 6147 h 4702170"/>
              <a:gd name="connsiteX14" fmla="*/ 10600291 w 11107716"/>
              <a:gd name="connsiteY14" fmla="*/ 89572 h 4702170"/>
              <a:gd name="connsiteX15" fmla="*/ 10995095 w 11107716"/>
              <a:gd name="connsiteY15" fmla="*/ 483608 h 4702170"/>
              <a:gd name="connsiteX16" fmla="*/ 11084841 w 11107716"/>
              <a:gd name="connsiteY16" fmla="*/ 697696 h 4702170"/>
              <a:gd name="connsiteX17" fmla="*/ 11084826 w 11107716"/>
              <a:gd name="connsiteY17" fmla="*/ 770767 h 4702170"/>
              <a:gd name="connsiteX18" fmla="*/ 11087219 w 11107716"/>
              <a:gd name="connsiteY18" fmla="*/ 770768 h 4702170"/>
              <a:gd name="connsiteX19" fmla="*/ 11106690 w 11107716"/>
              <a:gd name="connsiteY19" fmla="*/ 4506882 h 4702170"/>
              <a:gd name="connsiteX20" fmla="*/ 10873296 w 11107716"/>
              <a:gd name="connsiteY20" fmla="*/ 4700033 h 4702170"/>
              <a:gd name="connsiteX21" fmla="*/ 153355 w 11107716"/>
              <a:gd name="connsiteY21" fmla="*/ 4675891 h 4702170"/>
              <a:gd name="connsiteX22" fmla="*/ 443 w 11107716"/>
              <a:gd name="connsiteY22" fmla="*/ 4498835 h 4702170"/>
              <a:gd name="connsiteX23" fmla="*/ 21653 w 11107716"/>
              <a:gd name="connsiteY23" fmla="*/ 123847 h 4702170"/>
              <a:gd name="connsiteX24" fmla="*/ 145500 w 11107716"/>
              <a:gd name="connsiteY24" fmla="*/ 0 h 4702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107716" h="4702170">
                <a:moveTo>
                  <a:pt x="145500" y="0"/>
                </a:moveTo>
                <a:lnTo>
                  <a:pt x="6852947" y="0"/>
                </a:lnTo>
                <a:lnTo>
                  <a:pt x="6853793" y="0"/>
                </a:lnTo>
                <a:lnTo>
                  <a:pt x="8611692" y="0"/>
                </a:lnTo>
                <a:lnTo>
                  <a:pt x="8627040" y="0"/>
                </a:lnTo>
                <a:lnTo>
                  <a:pt x="8627887" y="0"/>
                </a:lnTo>
                <a:lnTo>
                  <a:pt x="10304611" y="0"/>
                </a:lnTo>
                <a:lnTo>
                  <a:pt x="10304698" y="18"/>
                </a:lnTo>
                <a:lnTo>
                  <a:pt x="10331593" y="12"/>
                </a:lnTo>
                <a:lnTo>
                  <a:pt x="10385785" y="0"/>
                </a:lnTo>
                <a:lnTo>
                  <a:pt x="10397105" y="1172"/>
                </a:lnTo>
                <a:lnTo>
                  <a:pt x="10413661" y="1172"/>
                </a:lnTo>
                <a:cubicBezTo>
                  <a:pt x="10413661" y="1743"/>
                  <a:pt x="10413660" y="2314"/>
                  <a:pt x="10413660" y="2885"/>
                </a:cubicBezTo>
                <a:lnTo>
                  <a:pt x="10445163" y="6147"/>
                </a:lnTo>
                <a:cubicBezTo>
                  <a:pt x="10503360" y="17990"/>
                  <a:pt x="10557279" y="46644"/>
                  <a:pt x="10600291" y="89572"/>
                </a:cubicBezTo>
                <a:lnTo>
                  <a:pt x="10995095" y="483608"/>
                </a:lnTo>
                <a:cubicBezTo>
                  <a:pt x="11051841" y="540244"/>
                  <a:pt x="11084367" y="617436"/>
                  <a:pt x="11084841" y="697696"/>
                </a:cubicBezTo>
                <a:lnTo>
                  <a:pt x="11084826" y="770767"/>
                </a:lnTo>
                <a:lnTo>
                  <a:pt x="11087219" y="770768"/>
                </a:lnTo>
                <a:cubicBezTo>
                  <a:pt x="11089521" y="1404184"/>
                  <a:pt x="11112834" y="4489138"/>
                  <a:pt x="11106690" y="4506882"/>
                </a:cubicBezTo>
                <a:cubicBezTo>
                  <a:pt x="11116641" y="4653392"/>
                  <a:pt x="11047668" y="4714788"/>
                  <a:pt x="10873296" y="4700033"/>
                </a:cubicBezTo>
                <a:lnTo>
                  <a:pt x="153355" y="4675891"/>
                </a:lnTo>
                <a:cubicBezTo>
                  <a:pt x="38000" y="4665161"/>
                  <a:pt x="-4921" y="4590046"/>
                  <a:pt x="443" y="4498835"/>
                </a:cubicBezTo>
                <a:cubicBezTo>
                  <a:pt x="2370" y="3740161"/>
                  <a:pt x="-2523" y="885725"/>
                  <a:pt x="21653" y="123847"/>
                </a:cubicBezTo>
                <a:cubicBezTo>
                  <a:pt x="21653" y="55448"/>
                  <a:pt x="77101" y="0"/>
                  <a:pt x="145500" y="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  <a:effectLst>
            <a:outerShdw blurRad="138160" dist="38100" dir="2700000" algn="t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6000"/>
              </a:lnSpc>
            </a:pPr>
            <a:endParaRPr lang="en-US" sz="1067" dirty="0">
              <a:solidFill>
                <a:schemeClr val="bg1"/>
              </a:solidFill>
              <a:latin typeface="ES Build" pitchFamily="50" charset="0"/>
              <a:cs typeface="Microsoft Sans Serif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02247B-0DA3-9141-D1E8-5B9AE8748FA6}"/>
              </a:ext>
            </a:extLst>
          </p:cNvPr>
          <p:cNvSpPr txBox="1"/>
          <p:nvPr/>
        </p:nvSpPr>
        <p:spPr>
          <a:xfrm>
            <a:off x="8362313" y="4817375"/>
            <a:ext cx="3292255" cy="121919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wrap="square" lIns="288000" tIns="0" rIns="0" bIns="0" rtlCol="0" anchor="ctr">
            <a:noAutofit/>
          </a:bodyPr>
          <a:lstStyle/>
          <a:p>
            <a:r>
              <a:rPr lang="en-US" sz="1600" dirty="0" err="1">
                <a:solidFill>
                  <a:srgbClr val="8E71F4"/>
                </a:solidFill>
              </a:rPr>
              <a:t>Schützen</a:t>
            </a:r>
            <a:r>
              <a:rPr lang="en-US" sz="1600" dirty="0">
                <a:solidFill>
                  <a:srgbClr val="8E71F4"/>
                </a:solidFill>
              </a:rPr>
              <a:t> Sie alle Workloads!</a:t>
            </a:r>
          </a:p>
          <a:p>
            <a:r>
              <a:rPr lang="en-US" sz="1600" dirty="0" err="1">
                <a:solidFill>
                  <a:srgbClr val="8E71F4"/>
                </a:solidFill>
              </a:rPr>
              <a:t>Portabel</a:t>
            </a:r>
            <a:r>
              <a:rPr lang="en-US" sz="1600" dirty="0">
                <a:solidFill>
                  <a:srgbClr val="8E71F4"/>
                </a:solidFill>
              </a:rPr>
              <a:t>!</a:t>
            </a:r>
          </a:p>
          <a:p>
            <a:r>
              <a:rPr lang="en-US" sz="1600" dirty="0" err="1">
                <a:solidFill>
                  <a:srgbClr val="8E71F4"/>
                </a:solidFill>
              </a:rPr>
              <a:t>Flexibel</a:t>
            </a:r>
            <a:r>
              <a:rPr lang="en-US" sz="1600" dirty="0">
                <a:solidFill>
                  <a:srgbClr val="8E71F4"/>
                </a:solidFill>
              </a:rPr>
              <a:t>!</a:t>
            </a:r>
          </a:p>
          <a:p>
            <a:r>
              <a:rPr lang="en-US" sz="1600" b="1" dirty="0" err="1">
                <a:solidFill>
                  <a:srgbClr val="8E71F4"/>
                </a:solidFill>
              </a:rPr>
              <a:t>Einfacher</a:t>
            </a:r>
            <a:r>
              <a:rPr lang="en-US" sz="1600" b="1" dirty="0">
                <a:solidFill>
                  <a:srgbClr val="8E71F4"/>
                </a:solidFill>
              </a:rPr>
              <a:t> </a:t>
            </a:r>
            <a:r>
              <a:rPr lang="en-US" sz="1600" b="1" dirty="0" err="1">
                <a:solidFill>
                  <a:srgbClr val="8E71F4"/>
                </a:solidFill>
              </a:rPr>
              <a:t>als</a:t>
            </a:r>
            <a:r>
              <a:rPr lang="en-US" sz="1600" b="1" dirty="0">
                <a:solidFill>
                  <a:srgbClr val="8E71F4"/>
                </a:solidFill>
              </a:rPr>
              <a:t> </a:t>
            </a:r>
            <a:r>
              <a:rPr lang="en-US" sz="1600" b="1" dirty="0" err="1">
                <a:solidFill>
                  <a:srgbClr val="8E71F4"/>
                </a:solidFill>
              </a:rPr>
              <a:t>zuvor</a:t>
            </a:r>
            <a:r>
              <a:rPr lang="en-US" sz="1600" b="1" dirty="0">
                <a:solidFill>
                  <a:srgbClr val="8E71F4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3909715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Veeam">
  <a:themeElements>
    <a:clrScheme name="Custom 3">
      <a:dk1>
        <a:srgbClr val="505861"/>
      </a:dk1>
      <a:lt1>
        <a:srgbClr val="FFFFFF"/>
      </a:lt1>
      <a:dk2>
        <a:srgbClr val="ADACAF"/>
      </a:dk2>
      <a:lt2>
        <a:srgbClr val="EFEFEF"/>
      </a:lt2>
      <a:accent1>
        <a:srgbClr val="000000"/>
      </a:accent1>
      <a:accent2>
        <a:srgbClr val="00D15F"/>
      </a:accent2>
      <a:accent3>
        <a:srgbClr val="3700FF"/>
      </a:accent3>
      <a:accent4>
        <a:srgbClr val="01B0FE"/>
      </a:accent4>
      <a:accent5>
        <a:srgbClr val="FFD836"/>
      </a:accent5>
      <a:accent6>
        <a:srgbClr val="FE8A25"/>
      </a:accent6>
      <a:hlink>
        <a:srgbClr val="00D15F"/>
      </a:hlink>
      <a:folHlink>
        <a:srgbClr val="3700FF"/>
      </a:folHlink>
    </a:clrScheme>
    <a:fontScheme name="Veeam">
      <a:majorFont>
        <a:latin typeface="ES Build"/>
        <a:ea typeface=""/>
        <a:cs typeface=""/>
      </a:majorFont>
      <a:minorFont>
        <a:latin typeface="ES Build Neutr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lnSpc>
            <a:spcPct val="96000"/>
          </a:lnSpc>
          <a:defRPr dirty="0">
            <a:solidFill>
              <a:schemeClr val="bg1"/>
            </a:solidFill>
            <a:latin typeface="ES Build" pitchFamily="50" charset="0"/>
            <a:cs typeface="Microsoft Sans Serif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accent3"/>
          </a:solidFill>
          <a:round/>
          <a:headEnd type="none" w="med" len="sm"/>
          <a:tailEnd type="none" w="sm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asia">
      <a:srgbClr val="8E71F4"/>
    </a:custClr>
    <a:custClr name="Ignis">
      <a:srgbClr val="ED2B3D"/>
    </a:custClr>
    <a:custClr name="Viridis">
      <a:srgbClr val="00D15F"/>
    </a:custClr>
    <a:custClr name="Black">
      <a:srgbClr val="000000"/>
    </a:custClr>
    <a:custClr name="Dark Mineral">
      <a:srgbClr val="505861"/>
    </a:custClr>
    <a:custClr name="French Grey">
      <a:srgbClr val="ADACAF"/>
    </a:custClr>
    <a:custClr name="Sol">
      <a:srgbClr val="FFD839"/>
    </a:custClr>
    <a:custClr name="Suma">
      <a:srgbClr val="FE8A25"/>
    </a:custClr>
    <a:custClr name="Electric Azure">
      <a:srgbClr val="3700FF"/>
    </a:custClr>
    <a:custClr name="Sky">
      <a:srgbClr val="01B0FE"/>
    </a:custClr>
  </a:custClrLst>
  <a:extLst>
    <a:ext uri="{05A4C25C-085E-4340-85A3-A5531E510DB2}">
      <thm15:themeFamily xmlns:thm15="http://schemas.microsoft.com/office/thememl/2012/main" name="Veeam_Template_Light.pptx" id="{B16D7533-CF22-4DBC-9341-DE048C7E44BF}" vid="{0EDE7BA8-6DDD-4FE2-954A-0D1C9408D4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505861"/>
    </a:dk1>
    <a:lt1>
      <a:srgbClr val="FFFFFF"/>
    </a:lt1>
    <a:dk2>
      <a:srgbClr val="ADACAF"/>
    </a:dk2>
    <a:lt2>
      <a:srgbClr val="EFEFEF"/>
    </a:lt2>
    <a:accent1>
      <a:srgbClr val="000000"/>
    </a:accent1>
    <a:accent2>
      <a:srgbClr val="00D15F"/>
    </a:accent2>
    <a:accent3>
      <a:srgbClr val="3700FF"/>
    </a:accent3>
    <a:accent4>
      <a:srgbClr val="01B0FE"/>
    </a:accent4>
    <a:accent5>
      <a:srgbClr val="FFD836"/>
    </a:accent5>
    <a:accent6>
      <a:srgbClr val="FE8A25"/>
    </a:accent6>
    <a:hlink>
      <a:srgbClr val="00D15F"/>
    </a:hlink>
    <a:folHlink>
      <a:srgbClr val="3700FF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rgbClr val="505861"/>
    </a:dk1>
    <a:lt1>
      <a:srgbClr val="FFFFFF"/>
    </a:lt1>
    <a:dk2>
      <a:srgbClr val="ADACAF"/>
    </a:dk2>
    <a:lt2>
      <a:srgbClr val="EFEFEF"/>
    </a:lt2>
    <a:accent1>
      <a:srgbClr val="000000"/>
    </a:accent1>
    <a:accent2>
      <a:srgbClr val="00D15F"/>
    </a:accent2>
    <a:accent3>
      <a:srgbClr val="3700FF"/>
    </a:accent3>
    <a:accent4>
      <a:srgbClr val="01B0FE"/>
    </a:accent4>
    <a:accent5>
      <a:srgbClr val="FFD836"/>
    </a:accent5>
    <a:accent6>
      <a:srgbClr val="FE8A25"/>
    </a:accent6>
    <a:hlink>
      <a:srgbClr val="00D15F"/>
    </a:hlink>
    <a:folHlink>
      <a:srgbClr val="3700F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A8AA6677463243BEE5853CC246BABA" ma:contentTypeVersion="18" ma:contentTypeDescription="Create a new document." ma:contentTypeScope="" ma:versionID="28ccac1d6213c149035d954840274099">
  <xsd:schema xmlns:xsd="http://www.w3.org/2001/XMLSchema" xmlns:xs="http://www.w3.org/2001/XMLSchema" xmlns:p="http://schemas.microsoft.com/office/2006/metadata/properties" xmlns:ns2="8cacac29-cf23-4d9e-a953-bd8daf705d07" xmlns:ns3="f2d3e68f-8cac-41f5-9334-721d178f1bd9" targetNamespace="http://schemas.microsoft.com/office/2006/metadata/properties" ma:root="true" ma:fieldsID="f74920c09b7c860a93e09f5f31cbf621" ns2:_="" ns3:_="">
    <xsd:import namespace="8cacac29-cf23-4d9e-a953-bd8daf705d07"/>
    <xsd:import namespace="f2d3e68f-8cac-41f5-9334-721d178f1bd9"/>
    <xsd:element name="properties">
      <xsd:complexType>
        <xsd:sequence>
          <xsd:element name="documentManagement">
            <xsd:complexType>
              <xsd:all>
                <xsd:element ref="ns2:d00d74f900da4ee987e321554ab9c064" minOccurs="0"/>
                <xsd:element ref="ns3:TaxCatchAll" minOccurs="0"/>
                <xsd:element ref="ns2:g1d077deefb041b98c53831c97554891" minOccurs="0"/>
                <xsd:element ref="ns2:ib6e17b9536443e4a8883457e0663f68" minOccurs="0"/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3:Brand_x0020_resource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acac29-cf23-4d9e-a953-bd8daf705d07" elementFormDefault="qualified">
    <xsd:import namespace="http://schemas.microsoft.com/office/2006/documentManagement/types"/>
    <xsd:import namespace="http://schemas.microsoft.com/office/infopath/2007/PartnerControls"/>
    <xsd:element name="d00d74f900da4ee987e321554ab9c064" ma:index="9" nillable="true" ma:taxonomy="true" ma:internalName="d00d74f900da4ee987e321554ab9c064" ma:taxonomyFieldName="Audience" ma:displayName="Audience" ma:default="" ma:fieldId="{d00d74f9-00da-4ee9-87e3-21554ab9c064}" ma:sspId="42f7ecf7-3daf-40a4-b73e-fe1cc035c9ac" ma:termSetId="0fa1d7fe-903d-4a1a-ae04-d0116490daf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1d077deefb041b98c53831c97554891" ma:index="12" nillable="true" ma:taxonomy="true" ma:internalName="g1d077deefb041b98c53831c97554891" ma:taxonomyFieldName="Department" ma:displayName="Department" ma:default="" ma:fieldId="{01d077de-efb0-41b9-8c53-831c97554891}" ma:sspId="42f7ecf7-3daf-40a4-b73e-fe1cc035c9ac" ma:termSetId="e2879ac4-edca-4321-989a-3d1b65ab257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b6e17b9536443e4a8883457e0663f68" ma:index="14" nillable="true" ma:taxonomy="true" ma:internalName="ib6e17b9536443e4a8883457e0663f68" ma:taxonomyFieldName="Language" ma:displayName="Language" ma:default="" ma:fieldId="{2b6e17b9-5364-43e4-a888-3457e0663f68}" ma:sspId="42f7ecf7-3daf-40a4-b73e-fe1cc035c9ac" ma:termSetId="ee11b2d0-e6c5-4d61-89e7-c4967eca5e4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2f7ecf7-3daf-40a4-b73e-fe1cc035c9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d3e68f-8cac-41f5-9334-721d178f1bd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e6914a46-cccd-4984-b608-644813e9c7d5}" ma:internalName="TaxCatchAll" ma:showField="CatchAllData" ma:web="f2d3e68f-8cac-41f5-9334-721d178f1b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rand_x0020_resource_x0020_type" ma:index="25" nillable="true" ma:displayName="Brand resource type" ma:default="Icon" ma:format="Dropdown" ma:internalName="Brand_x0020_resource_x0020_type">
      <xsd:simpleType>
        <xsd:restriction base="dms:Choice">
          <xsd:enumeration value="Icon"/>
          <xsd:enumeration value="Logo"/>
          <xsd:enumeration value="Template"/>
          <xsd:enumeration value="Video"/>
          <xsd:enumeration value="ppt"/>
          <xsd:enumeration value="bounce mark"/>
          <xsd:enumeration value="guide"/>
          <xsd:enumeration value="font"/>
          <xsd:enumeration value="diagram"/>
          <xsd:enumeration value="illustration"/>
          <xsd:enumeration value="photo"/>
          <xsd:enumeration value="Choice 12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b6e17b9536443e4a8883457e0663f68 xmlns="8cacac29-cf23-4d9e-a953-bd8daf705d07">
      <Terms xmlns="http://schemas.microsoft.com/office/infopath/2007/PartnerControls"/>
    </ib6e17b9536443e4a8883457e0663f68>
    <Brand_x0020_resource_x0020_type xmlns="f2d3e68f-8cac-41f5-9334-721d178f1bd9">Icon</Brand_x0020_resource_x0020_type>
    <TaxCatchAll xmlns="f2d3e68f-8cac-41f5-9334-721d178f1bd9" xsi:nil="true"/>
    <d00d74f900da4ee987e321554ab9c064 xmlns="8cacac29-cf23-4d9e-a953-bd8daf705d07">
      <Terms xmlns="http://schemas.microsoft.com/office/infopath/2007/PartnerControls"/>
    </d00d74f900da4ee987e321554ab9c064>
    <lcf76f155ced4ddcb4097134ff3c332f xmlns="8cacac29-cf23-4d9e-a953-bd8daf705d07">
      <Terms xmlns="http://schemas.microsoft.com/office/infopath/2007/PartnerControls"/>
    </lcf76f155ced4ddcb4097134ff3c332f>
    <g1d077deefb041b98c53831c97554891 xmlns="8cacac29-cf23-4d9e-a953-bd8daf705d07">
      <Terms xmlns="http://schemas.microsoft.com/office/infopath/2007/PartnerControls"/>
    </g1d077deefb041b98c53831c97554891>
  </documentManagement>
</p:properties>
</file>

<file path=customXml/itemProps1.xml><?xml version="1.0" encoding="utf-8"?>
<ds:datastoreItem xmlns:ds="http://schemas.openxmlformats.org/officeDocument/2006/customXml" ds:itemID="{E6529E55-D9C0-413C-B0B5-2D8C879F675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44720A-4EA3-4A2A-9C6E-21EF68CEEE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acac29-cf23-4d9e-a953-bd8daf705d07"/>
    <ds:schemaRef ds:uri="f2d3e68f-8cac-41f5-9334-721d178f1b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948E669-A802-4AD3-B8E1-7F3808685BA9}">
  <ds:schemaRefs>
    <ds:schemaRef ds:uri="595d4a41-f636-4364-8114-faee060cce9c"/>
    <ds:schemaRef ds:uri="e5f058ee-1686-4a1f-96d5-c4672040180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8cacac29-cf23-4d9e-a953-bd8daf705d07"/>
    <ds:schemaRef ds:uri="f2d3e68f-8cac-41f5-9334-721d178f1bd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1</Words>
  <Application>Microsoft Office PowerPoint</Application>
  <PresentationFormat>Breitbild</PresentationFormat>
  <Paragraphs>269</Paragraphs>
  <Slides>33</Slides>
  <Notes>1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44" baseType="lpstr">
      <vt:lpstr>Arial</vt:lpstr>
      <vt:lpstr>Calibri</vt:lpstr>
      <vt:lpstr>ES Build</vt:lpstr>
      <vt:lpstr>ES Build </vt:lpstr>
      <vt:lpstr>ES Build (</vt:lpstr>
      <vt:lpstr>ES Build Medium</vt:lpstr>
      <vt:lpstr>ES Build Neutral</vt:lpstr>
      <vt:lpstr>Microsoft Sans Serif</vt:lpstr>
      <vt:lpstr>System Font Regular</vt:lpstr>
      <vt:lpstr>Tahoma</vt:lpstr>
      <vt:lpstr>Veeam</vt:lpstr>
      <vt:lpstr>Sicherer Hypervisor-Wechsel  mit Backup-Lösungen von Veeam</vt:lpstr>
      <vt:lpstr>Agenda</vt:lpstr>
      <vt:lpstr>Kundenszenario</vt:lpstr>
      <vt:lpstr>Kundenszenario</vt:lpstr>
      <vt:lpstr>Kundenszenario </vt:lpstr>
      <vt:lpstr>Kundenszenario </vt:lpstr>
      <vt:lpstr>Veeam‘s Ansatz</vt:lpstr>
      <vt:lpstr>Multi-Plattform Disaster Recovery</vt:lpstr>
      <vt:lpstr>Was bedeutet Veeam Universal License (VUL)?</vt:lpstr>
      <vt:lpstr>Backup Mobilität</vt:lpstr>
      <vt:lpstr>Multi‑Plattform Backup &amp; DR – Image-Level </vt:lpstr>
      <vt:lpstr>Multi‑Plattform Backup &amp; DR – Datei/Applikations-Level</vt:lpstr>
      <vt:lpstr>Kundenszenario </vt:lpstr>
      <vt:lpstr>Kundenszenario </vt:lpstr>
      <vt:lpstr>Hypervisor Support durch Thomas-Krenn.AG </vt:lpstr>
      <vt:lpstr>Was gibt es noch?</vt:lpstr>
      <vt:lpstr>Weitere Szenarien</vt:lpstr>
      <vt:lpstr>Kein Vendor Lock-In</vt:lpstr>
      <vt:lpstr>Kein Vendor Lock-In</vt:lpstr>
      <vt:lpstr>Freie Wahl des Standorts</vt:lpstr>
      <vt:lpstr>Veeam ONE</vt:lpstr>
      <vt:lpstr>Verwenden Sie Veeam One für die Kapazitätsplanung </vt:lpstr>
      <vt:lpstr>5 beliebte  Infrastruktur Berichte</vt:lpstr>
      <vt:lpstr>5 beliebte Veeam  Backup Berichte</vt:lpstr>
      <vt:lpstr>Veeam Recovery Orchestrator</vt:lpstr>
      <vt:lpstr>Lokales RZ down: Was tun? </vt:lpstr>
      <vt:lpstr>Orchestrierte Wiederherstellung mit Veeam</vt:lpstr>
      <vt:lpstr>Restore nach Microsoft Azure</vt:lpstr>
      <vt:lpstr>Zusammenfassung</vt:lpstr>
      <vt:lpstr>Zusammenfassung – Veeam </vt:lpstr>
      <vt:lpstr>Zusammenfassung –  Thomas-Krenn.AG </vt:lpstr>
      <vt:lpstr>Wohin Ihre Reise auch geht,  Thomas-Krenn.AG &amp; Veeam unterstützen Sie  auf Ihrem Weg!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eam Corporate Template</dc:title>
  <dc:creator>Maximilian Maier</dc:creator>
  <cp:keywords>Veeam</cp:keywords>
  <cp:lastModifiedBy>Maximilian Maier</cp:lastModifiedBy>
  <cp:revision>17</cp:revision>
  <dcterms:created xsi:type="dcterms:W3CDTF">2023-11-30T09:30:31Z</dcterms:created>
  <dcterms:modified xsi:type="dcterms:W3CDTF">2024-04-10T13:49:00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A8AA6677463243BEE5853CC246BABA</vt:lpwstr>
  </property>
</Properties>
</file>